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384" r:id="rId2"/>
    <p:sldId id="394" r:id="rId3"/>
    <p:sldId id="400" r:id="rId4"/>
    <p:sldId id="399" r:id="rId5"/>
    <p:sldId id="398" r:id="rId6"/>
    <p:sldId id="397" r:id="rId7"/>
    <p:sldId id="391" r:id="rId8"/>
    <p:sldId id="387" r:id="rId9"/>
    <p:sldId id="390" r:id="rId10"/>
    <p:sldId id="396" r:id="rId11"/>
    <p:sldId id="389" r:id="rId12"/>
  </p:sldIdLst>
  <p:sldSz cx="9906000" cy="6858000" type="A4"/>
  <p:notesSz cx="6858000" cy="9144000"/>
  <p:custDataLst>
    <p:tags r:id="rId13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17" autoAdjust="0"/>
    <p:restoredTop sz="95915"/>
  </p:normalViewPr>
  <p:slideViewPr>
    <p:cSldViewPr snapToGrid="0">
      <p:cViewPr varScale="1">
        <p:scale>
          <a:sx n="60" d="100"/>
          <a:sy n="60" d="100"/>
        </p:scale>
        <p:origin x="118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1CABCCEA-FCF2-2943-A3E3-1751A477C648}"/>
              </a:ext>
            </a:extLst>
          </p:cNvPr>
          <p:cNvSpPr/>
          <p:nvPr userDrawn="1"/>
        </p:nvSpPr>
        <p:spPr>
          <a:xfrm>
            <a:off x="0" y="0"/>
            <a:ext cx="9916860" cy="68580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>
              <a:solidFill>
                <a:schemeClr val="tx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6F31FA4-CF07-164E-832D-03930C765F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434" y="1361084"/>
            <a:ext cx="9255616" cy="1570140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algn="ctr">
              <a:buFontTx/>
              <a:buNone/>
              <a:defRPr sz="5102" b="1">
                <a:solidFill>
                  <a:schemeClr val="tx1"/>
                </a:solidFill>
              </a:defRPr>
            </a:lvl1pPr>
            <a:lvl2pPr marL="466481" indent="0">
              <a:buFontTx/>
              <a:buNone/>
              <a:defRPr sz="5102"/>
            </a:lvl2pPr>
            <a:lvl3pPr marL="932962" indent="0">
              <a:buFontTx/>
              <a:buNone/>
              <a:defRPr sz="5102"/>
            </a:lvl3pPr>
            <a:lvl4pPr marL="1399443" indent="0">
              <a:buFontTx/>
              <a:buNone/>
              <a:defRPr sz="5102"/>
            </a:lvl4pPr>
            <a:lvl5pPr marL="1865925" indent="0">
              <a:buFontTx/>
              <a:buNone/>
              <a:defRPr sz="5102"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F20B82EF-12F1-0C44-9726-945925447E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4436" y="3124733"/>
            <a:ext cx="9255614" cy="109722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buFontTx/>
              <a:buNone/>
              <a:defRPr sz="3265" b="1">
                <a:solidFill>
                  <a:schemeClr val="tx1"/>
                </a:solidFill>
              </a:defRPr>
            </a:lvl1pPr>
            <a:lvl2pPr marL="466481" indent="0" algn="ctr">
              <a:buFontTx/>
              <a:buNone/>
              <a:defRPr sz="2449"/>
            </a:lvl2pPr>
            <a:lvl3pPr marL="932962" indent="0" algn="ctr">
              <a:buFontTx/>
              <a:buNone/>
              <a:defRPr sz="2449"/>
            </a:lvl3pPr>
            <a:lvl4pPr marL="1399443" indent="0" algn="ctr">
              <a:buFontTx/>
              <a:buNone/>
              <a:defRPr sz="2449"/>
            </a:lvl4pPr>
            <a:lvl5pPr marL="1865925" indent="0" algn="ctr">
              <a:buFontTx/>
              <a:buNone/>
              <a:defRPr sz="2449"/>
            </a:lvl5pPr>
          </a:lstStyle>
          <a:p>
            <a:pPr lvl="0"/>
            <a:r>
              <a:rPr lang="es-ES" dirty="0"/>
              <a:t>Haga clic para modificar los estilos de texto del patrón</a:t>
            </a:r>
          </a:p>
        </p:txBody>
      </p:sp>
      <p:pic>
        <p:nvPicPr>
          <p:cNvPr id="3" name="Imagen 2" descr="Imagen que contiene Texto&#10;&#10;Descripción generada automáticamente">
            <a:extLst>
              <a:ext uri="{FF2B5EF4-FFF2-40B4-BE49-F238E27FC236}">
                <a16:creationId xmlns:a16="http://schemas.microsoft.com/office/drawing/2014/main" id="{D309499F-4F31-0C41-9071-360995F649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34" y="413842"/>
            <a:ext cx="2230346" cy="421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300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1CABCCEA-FCF2-2943-A3E3-1751A477C648}"/>
              </a:ext>
            </a:extLst>
          </p:cNvPr>
          <p:cNvSpPr/>
          <p:nvPr userDrawn="1"/>
        </p:nvSpPr>
        <p:spPr>
          <a:xfrm>
            <a:off x="0" y="0"/>
            <a:ext cx="9916860" cy="83127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>
              <a:solidFill>
                <a:schemeClr val="tx1"/>
              </a:solidFill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33215A67-5051-CA49-A53A-AE820AFFBF4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lementos del plano</a:t>
            </a:r>
          </a:p>
        </p:txBody>
      </p:sp>
    </p:spTree>
    <p:extLst>
      <p:ext uri="{BB962C8B-B14F-4D97-AF65-F5344CB8AC3E}">
        <p14:creationId xmlns:p14="http://schemas.microsoft.com/office/powerpoint/2010/main" val="9402843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5561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Gráfico&#10;&#10;Descripción generada automáticamente">
            <a:extLst>
              <a:ext uri="{FF2B5EF4-FFF2-40B4-BE49-F238E27FC236}">
                <a16:creationId xmlns:a16="http://schemas.microsoft.com/office/drawing/2014/main" id="{CDE6B9EE-D9E8-374B-81E1-3D8BBA2A9B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906000" cy="7000083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0D06E209-5ED6-764A-AD98-A2ECC1FEE4C6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99023" y="356710"/>
            <a:ext cx="935609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err="1"/>
              <a:t>Escala</a:t>
            </a:r>
            <a:r>
              <a:rPr lang="en-US" noProof="0" dirty="0"/>
              <a:t> 1:50, para </a:t>
            </a:r>
            <a:r>
              <a:rPr lang="en-US" noProof="0" dirty="0" err="1"/>
              <a:t>inmuebles</a:t>
            </a:r>
            <a:r>
              <a:rPr lang="en-US" noProof="0" dirty="0"/>
              <a:t> &lt;70m2</a:t>
            </a:r>
          </a:p>
        </p:txBody>
      </p:sp>
    </p:spTree>
    <p:extLst>
      <p:ext uri="{BB962C8B-B14F-4D97-AF65-F5344CB8AC3E}">
        <p14:creationId xmlns:p14="http://schemas.microsoft.com/office/powerpoint/2010/main" val="90805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Gráfico, Tabla&#10;&#10;Descripción generada automáticamente con confianza media">
            <a:extLst>
              <a:ext uri="{FF2B5EF4-FFF2-40B4-BE49-F238E27FC236}">
                <a16:creationId xmlns:a16="http://schemas.microsoft.com/office/drawing/2014/main" id="{FD6959A3-3AF2-534B-989B-5FCC1E303C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14" y="-1"/>
            <a:ext cx="9906913" cy="7000729"/>
          </a:xfrm>
          <a:prstGeom prst="rect">
            <a:avLst/>
          </a:prstGeom>
        </p:spPr>
      </p:pic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0D06E209-5ED6-764A-AD98-A2ECC1FEE4C6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70943" y="369964"/>
            <a:ext cx="9356094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err="1"/>
              <a:t>Escala</a:t>
            </a:r>
            <a:r>
              <a:rPr lang="en-US" noProof="0" dirty="0"/>
              <a:t> 1:100, para </a:t>
            </a:r>
            <a:r>
              <a:rPr lang="en-US" noProof="0" dirty="0" err="1"/>
              <a:t>inmuebles</a:t>
            </a:r>
            <a:r>
              <a:rPr lang="en-US" noProof="0" dirty="0"/>
              <a:t> &gt;70m2</a:t>
            </a:r>
          </a:p>
        </p:txBody>
      </p:sp>
    </p:spTree>
    <p:extLst>
      <p:ext uri="{BB962C8B-B14F-4D97-AF65-F5344CB8AC3E}">
        <p14:creationId xmlns:p14="http://schemas.microsoft.com/office/powerpoint/2010/main" val="2499430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97172875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270" imgH="270" progId="TCLayout.ActiveDocument.1">
                  <p:embed/>
                </p:oleObj>
              </mc:Choice>
              <mc:Fallback>
                <p:oleObj name="Diapositiva de think-cell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3" y="8102"/>
            <a:ext cx="75020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24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795297"/>
            <a:ext cx="952695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28" baseline="0" noProof="0" dirty="0">
                <a:solidFill>
                  <a:schemeClr val="tx2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4" y="6215035"/>
            <a:ext cx="9449743" cy="500507"/>
            <a:chOff x="75" y="3837"/>
            <a:chExt cx="5385" cy="30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7"/>
              <a:ext cx="538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918" baseline="0" noProof="0" dirty="0">
                  <a:solidFill>
                    <a:schemeClr val="tx2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7"/>
              <a:ext cx="4323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918" baseline="0" noProof="0" dirty="0">
                  <a:solidFill>
                    <a:schemeClr val="tx2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072271"/>
            <a:ext cx="4713466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6352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2" r:id="rId2"/>
    <p:sldLayoutId id="2147483771" r:id="rId3"/>
    <p:sldLayoutId id="2147483768" r:id="rId4"/>
    <p:sldLayoutId id="2147483769" r:id="rId5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37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125000"/>
        <a:buFont typeface="Arial" panose="020B0604020202020204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rgbClr val="7C7C7C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78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orient="horz" pos="731" userDrawn="1">
          <p15:clr>
            <a:srgbClr val="F26B43"/>
          </p15:clr>
        </p15:guide>
        <p15:guide id="6" pos="1566" userDrawn="1">
          <p15:clr>
            <a:srgbClr val="F26B43"/>
          </p15:clr>
        </p15:guide>
        <p15:guide id="7" pos="4552" userDrawn="1">
          <p15:clr>
            <a:srgbClr val="F26B43"/>
          </p15:clr>
        </p15:guide>
        <p15:guide id="8" pos="3114" userDrawn="1">
          <p15:clr>
            <a:srgbClr val="F26B43"/>
          </p15:clr>
        </p15:guide>
        <p15:guide id="9" pos="128" userDrawn="1">
          <p15:clr>
            <a:srgbClr val="F26B43"/>
          </p15:clr>
        </p15:guide>
        <p15:guide id="10" orient="horz" pos="17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13" Type="http://schemas.openxmlformats.org/officeDocument/2006/relationships/image" Target="../media/image37.jpg"/><Relationship Id="rId3" Type="http://schemas.openxmlformats.org/officeDocument/2006/relationships/image" Target="../media/image15.jpg"/><Relationship Id="rId7" Type="http://schemas.openxmlformats.org/officeDocument/2006/relationships/image" Target="../media/image13.jpg"/><Relationship Id="rId12" Type="http://schemas.openxmlformats.org/officeDocument/2006/relationships/image" Target="../media/image35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jpg"/><Relationship Id="rId11" Type="http://schemas.openxmlformats.org/officeDocument/2006/relationships/image" Target="../media/image31.jpg"/><Relationship Id="rId5" Type="http://schemas.openxmlformats.org/officeDocument/2006/relationships/image" Target="../media/image38.jpg"/><Relationship Id="rId10" Type="http://schemas.openxmlformats.org/officeDocument/2006/relationships/image" Target="../media/image27.jpg"/><Relationship Id="rId4" Type="http://schemas.openxmlformats.org/officeDocument/2006/relationships/image" Target="../media/image33.jpg"/><Relationship Id="rId9" Type="http://schemas.openxmlformats.org/officeDocument/2006/relationships/image" Target="../media/image24.jpg"/><Relationship Id="rId14" Type="http://schemas.openxmlformats.org/officeDocument/2006/relationships/image" Target="../media/image39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11.png"/><Relationship Id="rId4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10" Type="http://schemas.openxmlformats.org/officeDocument/2006/relationships/image" Target="../media/image17.jpg"/><Relationship Id="rId4" Type="http://schemas.openxmlformats.org/officeDocument/2006/relationships/image" Target="../media/image5.emf"/><Relationship Id="rId9" Type="http://schemas.openxmlformats.org/officeDocument/2006/relationships/image" Target="../media/image16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oleObject" Target="../embeddings/oleObject8.bin"/><Relationship Id="rId7" Type="http://schemas.openxmlformats.org/officeDocument/2006/relationships/image" Target="../media/image20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10" Type="http://schemas.openxmlformats.org/officeDocument/2006/relationships/image" Target="../media/image23.png"/><Relationship Id="rId4" Type="http://schemas.openxmlformats.org/officeDocument/2006/relationships/image" Target="../media/image5.emf"/><Relationship Id="rId9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13" Type="http://schemas.openxmlformats.org/officeDocument/2006/relationships/image" Target="../media/image35.jpg"/><Relationship Id="rId18" Type="http://schemas.openxmlformats.org/officeDocument/2006/relationships/image" Target="../media/image40.jpg"/><Relationship Id="rId3" Type="http://schemas.openxmlformats.org/officeDocument/2006/relationships/image" Target="../media/image25.jpg"/><Relationship Id="rId7" Type="http://schemas.openxmlformats.org/officeDocument/2006/relationships/image" Target="../media/image29.jpg"/><Relationship Id="rId12" Type="http://schemas.openxmlformats.org/officeDocument/2006/relationships/image" Target="../media/image34.jpg"/><Relationship Id="rId17" Type="http://schemas.openxmlformats.org/officeDocument/2006/relationships/image" Target="../media/image39.jpg"/><Relationship Id="rId2" Type="http://schemas.openxmlformats.org/officeDocument/2006/relationships/image" Target="../media/image24.jpg"/><Relationship Id="rId16" Type="http://schemas.openxmlformats.org/officeDocument/2006/relationships/image" Target="../media/image3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g"/><Relationship Id="rId11" Type="http://schemas.openxmlformats.org/officeDocument/2006/relationships/image" Target="../media/image33.jpg"/><Relationship Id="rId5" Type="http://schemas.openxmlformats.org/officeDocument/2006/relationships/image" Target="../media/image27.jpg"/><Relationship Id="rId15" Type="http://schemas.openxmlformats.org/officeDocument/2006/relationships/image" Target="../media/image37.jpg"/><Relationship Id="rId10" Type="http://schemas.openxmlformats.org/officeDocument/2006/relationships/image" Target="../media/image32.jpg"/><Relationship Id="rId19" Type="http://schemas.openxmlformats.org/officeDocument/2006/relationships/image" Target="../media/image41.jpg"/><Relationship Id="rId4" Type="http://schemas.openxmlformats.org/officeDocument/2006/relationships/image" Target="../media/image26.jpg"/><Relationship Id="rId9" Type="http://schemas.openxmlformats.org/officeDocument/2006/relationships/image" Target="../media/image31.jpg"/><Relationship Id="rId14" Type="http://schemas.openxmlformats.org/officeDocument/2006/relationships/image" Target="../media/image36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13" Type="http://schemas.openxmlformats.org/officeDocument/2006/relationships/image" Target="../media/image13.jpg"/><Relationship Id="rId3" Type="http://schemas.openxmlformats.org/officeDocument/2006/relationships/image" Target="../media/image27.jpg"/><Relationship Id="rId7" Type="http://schemas.openxmlformats.org/officeDocument/2006/relationships/image" Target="../media/image32.jpg"/><Relationship Id="rId12" Type="http://schemas.openxmlformats.org/officeDocument/2006/relationships/image" Target="../media/image39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6.jpg"/><Relationship Id="rId11" Type="http://schemas.openxmlformats.org/officeDocument/2006/relationships/image" Target="../media/image34.jpg"/><Relationship Id="rId5" Type="http://schemas.openxmlformats.org/officeDocument/2006/relationships/image" Target="../media/image41.jpg"/><Relationship Id="rId10" Type="http://schemas.openxmlformats.org/officeDocument/2006/relationships/image" Target="../media/image37.jpg"/><Relationship Id="rId4" Type="http://schemas.openxmlformats.org/officeDocument/2006/relationships/image" Target="../media/image24.jpg"/><Relationship Id="rId9" Type="http://schemas.openxmlformats.org/officeDocument/2006/relationships/image" Target="../media/image31.jpg"/><Relationship Id="rId14" Type="http://schemas.openxmlformats.org/officeDocument/2006/relationships/image" Target="../media/image1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4591412"/>
              </p:ext>
            </p:ext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Marcador de texto 110">
            <a:extLst>
              <a:ext uri="{FF2B5EF4-FFF2-40B4-BE49-F238E27FC236}">
                <a16:creationId xmlns:a16="http://schemas.microsoft.com/office/drawing/2014/main" id="{34713600-1172-5B4C-B155-3BD0F36DE1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25192" y="2126466"/>
            <a:ext cx="8903868" cy="1570302"/>
          </a:xfrm>
        </p:spPr>
        <p:txBody>
          <a:bodyPr/>
          <a:lstStyle/>
          <a:p>
            <a:pPr algn="l"/>
            <a:r>
              <a:rPr lang="en-GB" dirty="0"/>
              <a:t>Plantilla para </a:t>
            </a:r>
            <a:r>
              <a:rPr lang="en-GB" dirty="0" err="1"/>
              <a:t>crear</a:t>
            </a:r>
            <a:r>
              <a:rPr lang="en-GB" dirty="0"/>
              <a:t> </a:t>
            </a:r>
            <a:r>
              <a:rPr lang="en-GB" dirty="0" err="1"/>
              <a:t>planos</a:t>
            </a:r>
            <a:r>
              <a:rPr lang="en-GB" dirty="0"/>
              <a:t> de forma </a:t>
            </a:r>
            <a:r>
              <a:rPr lang="en-GB" dirty="0" err="1"/>
              <a:t>sencill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4357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ectángulo 98">
            <a:extLst>
              <a:ext uri="{FF2B5EF4-FFF2-40B4-BE49-F238E27FC236}">
                <a16:creationId xmlns:a16="http://schemas.microsoft.com/office/drawing/2014/main" id="{14AB7F8E-265C-2827-2D9C-959FB1A686B7}"/>
              </a:ext>
            </a:extLst>
          </p:cNvPr>
          <p:cNvSpPr/>
          <p:nvPr/>
        </p:nvSpPr>
        <p:spPr>
          <a:xfrm>
            <a:off x="3236001" y="5396665"/>
            <a:ext cx="1851154" cy="579132"/>
          </a:xfrm>
          <a:prstGeom prst="rect">
            <a:avLst/>
          </a:prstGeom>
          <a:noFill/>
          <a:ln w="5715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7BBC91F-1C8C-F643-87C1-E6FF15BA8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743" y="369964"/>
            <a:ext cx="9356094" cy="2826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0" name="Forma libre 89">
            <a:extLst>
              <a:ext uri="{FF2B5EF4-FFF2-40B4-BE49-F238E27FC236}">
                <a16:creationId xmlns:a16="http://schemas.microsoft.com/office/drawing/2014/main" id="{BB547B01-76F2-D57B-22FB-BF070EC30777}"/>
              </a:ext>
            </a:extLst>
          </p:cNvPr>
          <p:cNvSpPr/>
          <p:nvPr/>
        </p:nvSpPr>
        <p:spPr>
          <a:xfrm>
            <a:off x="5975797" y="2369714"/>
            <a:ext cx="1980195" cy="2588652"/>
          </a:xfrm>
          <a:custGeom>
            <a:avLst/>
            <a:gdLst>
              <a:gd name="connsiteX0" fmla="*/ 0 w 1980195"/>
              <a:gd name="connsiteY0" fmla="*/ 0 h 2588652"/>
              <a:gd name="connsiteX1" fmla="*/ 1001400 w 1980195"/>
              <a:gd name="connsiteY1" fmla="*/ 0 h 2588652"/>
              <a:gd name="connsiteX2" fmla="*/ 1001400 w 1980195"/>
              <a:gd name="connsiteY2" fmla="*/ 315396 h 2588652"/>
              <a:gd name="connsiteX3" fmla="*/ 1980195 w 1980195"/>
              <a:gd name="connsiteY3" fmla="*/ 1294191 h 2588652"/>
              <a:gd name="connsiteX4" fmla="*/ 1001400 w 1980195"/>
              <a:gd name="connsiteY4" fmla="*/ 2272986 h 2588652"/>
              <a:gd name="connsiteX5" fmla="*/ 1001400 w 1980195"/>
              <a:gd name="connsiteY5" fmla="*/ 2588652 h 2588652"/>
              <a:gd name="connsiteX6" fmla="*/ 0 w 1980195"/>
              <a:gd name="connsiteY6" fmla="*/ 2588652 h 2588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80195" h="2588652">
                <a:moveTo>
                  <a:pt x="0" y="0"/>
                </a:moveTo>
                <a:lnTo>
                  <a:pt x="1001400" y="0"/>
                </a:lnTo>
                <a:lnTo>
                  <a:pt x="1001400" y="315396"/>
                </a:lnTo>
                <a:cubicBezTo>
                  <a:pt x="1541974" y="315396"/>
                  <a:pt x="1980195" y="753617"/>
                  <a:pt x="1980195" y="1294191"/>
                </a:cubicBezTo>
                <a:cubicBezTo>
                  <a:pt x="1980195" y="1834765"/>
                  <a:pt x="1541974" y="2272986"/>
                  <a:pt x="1001400" y="2272986"/>
                </a:cubicBezTo>
                <a:lnTo>
                  <a:pt x="1001400" y="2588652"/>
                </a:lnTo>
                <a:lnTo>
                  <a:pt x="0" y="2588652"/>
                </a:lnTo>
                <a:close/>
              </a:path>
            </a:pathLst>
          </a:custGeom>
          <a:noFill/>
          <a:ln w="5715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AC8F9AB8-7F1E-AE7E-E090-512E7763C20F}"/>
              </a:ext>
            </a:extLst>
          </p:cNvPr>
          <p:cNvSpPr/>
          <p:nvPr/>
        </p:nvSpPr>
        <p:spPr>
          <a:xfrm>
            <a:off x="675743" y="1352013"/>
            <a:ext cx="5300054" cy="4623784"/>
          </a:xfrm>
          <a:custGeom>
            <a:avLst/>
            <a:gdLst>
              <a:gd name="connsiteX0" fmla="*/ 0 w 5300054"/>
              <a:gd name="connsiteY0" fmla="*/ 0 h 4623784"/>
              <a:gd name="connsiteX1" fmla="*/ 5300054 w 5300054"/>
              <a:gd name="connsiteY1" fmla="*/ 0 h 4623784"/>
              <a:gd name="connsiteX2" fmla="*/ 5300054 w 5300054"/>
              <a:gd name="connsiteY2" fmla="*/ 4623784 h 4623784"/>
              <a:gd name="connsiteX3" fmla="*/ 0 w 5300054"/>
              <a:gd name="connsiteY3" fmla="*/ 4623784 h 4623784"/>
              <a:gd name="connsiteX4" fmla="*/ 0 w 5300054"/>
              <a:gd name="connsiteY4" fmla="*/ 0 h 4623784"/>
              <a:gd name="connsiteX0" fmla="*/ 12879 w 5300054"/>
              <a:gd name="connsiteY0" fmla="*/ 643944 h 4623784"/>
              <a:gd name="connsiteX1" fmla="*/ 5300054 w 5300054"/>
              <a:gd name="connsiteY1" fmla="*/ 0 h 4623784"/>
              <a:gd name="connsiteX2" fmla="*/ 5300054 w 5300054"/>
              <a:gd name="connsiteY2" fmla="*/ 4623784 h 4623784"/>
              <a:gd name="connsiteX3" fmla="*/ 0 w 5300054"/>
              <a:gd name="connsiteY3" fmla="*/ 4623784 h 4623784"/>
              <a:gd name="connsiteX4" fmla="*/ 12879 w 5300054"/>
              <a:gd name="connsiteY4" fmla="*/ 643944 h 4623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0054" h="4623784">
                <a:moveTo>
                  <a:pt x="12879" y="643944"/>
                </a:moveTo>
                <a:lnTo>
                  <a:pt x="5300054" y="0"/>
                </a:lnTo>
                <a:lnTo>
                  <a:pt x="5300054" y="4623784"/>
                </a:lnTo>
                <a:lnTo>
                  <a:pt x="0" y="4623784"/>
                </a:lnTo>
                <a:lnTo>
                  <a:pt x="12879" y="643944"/>
                </a:lnTo>
                <a:close/>
              </a:path>
            </a:pathLst>
          </a:cu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1" name="Imagen 90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D3E382AB-A109-D535-75D8-94322ECD8A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087" y="5427917"/>
            <a:ext cx="655519" cy="586517"/>
          </a:xfrm>
          <a:prstGeom prst="rect">
            <a:avLst/>
          </a:prstGeom>
        </p:spPr>
      </p:pic>
      <p:pic>
        <p:nvPicPr>
          <p:cNvPr id="92" name="Imagen 91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B166DDC5-6731-ED7E-3D39-1BBEBA9166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071407" y="3370646"/>
            <a:ext cx="1299538" cy="586517"/>
          </a:xfrm>
          <a:prstGeom prst="rect">
            <a:avLst/>
          </a:prstGeom>
        </p:spPr>
      </p:pic>
      <p:sp>
        <p:nvSpPr>
          <p:cNvPr id="93" name="Rectángulo 86">
            <a:extLst>
              <a:ext uri="{FF2B5EF4-FFF2-40B4-BE49-F238E27FC236}">
                <a16:creationId xmlns:a16="http://schemas.microsoft.com/office/drawing/2014/main" id="{1C378B3C-F748-E861-9087-FE9AF55A7867}"/>
              </a:ext>
            </a:extLst>
          </p:cNvPr>
          <p:cNvSpPr/>
          <p:nvPr/>
        </p:nvSpPr>
        <p:spPr>
          <a:xfrm>
            <a:off x="708707" y="1724403"/>
            <a:ext cx="2178882" cy="1900864"/>
          </a:xfrm>
          <a:custGeom>
            <a:avLst/>
            <a:gdLst>
              <a:gd name="connsiteX0" fmla="*/ 0 w 5300054"/>
              <a:gd name="connsiteY0" fmla="*/ 0 h 4623784"/>
              <a:gd name="connsiteX1" fmla="*/ 5300054 w 5300054"/>
              <a:gd name="connsiteY1" fmla="*/ 0 h 4623784"/>
              <a:gd name="connsiteX2" fmla="*/ 5300054 w 5300054"/>
              <a:gd name="connsiteY2" fmla="*/ 4623784 h 4623784"/>
              <a:gd name="connsiteX3" fmla="*/ 0 w 5300054"/>
              <a:gd name="connsiteY3" fmla="*/ 4623784 h 4623784"/>
              <a:gd name="connsiteX4" fmla="*/ 0 w 5300054"/>
              <a:gd name="connsiteY4" fmla="*/ 0 h 4623784"/>
              <a:gd name="connsiteX0" fmla="*/ 12879 w 5300054"/>
              <a:gd name="connsiteY0" fmla="*/ 643944 h 4623784"/>
              <a:gd name="connsiteX1" fmla="*/ 5300054 w 5300054"/>
              <a:gd name="connsiteY1" fmla="*/ 0 h 4623784"/>
              <a:gd name="connsiteX2" fmla="*/ 5300054 w 5300054"/>
              <a:gd name="connsiteY2" fmla="*/ 4623784 h 4623784"/>
              <a:gd name="connsiteX3" fmla="*/ 0 w 5300054"/>
              <a:gd name="connsiteY3" fmla="*/ 4623784 h 4623784"/>
              <a:gd name="connsiteX4" fmla="*/ 12879 w 5300054"/>
              <a:gd name="connsiteY4" fmla="*/ 643944 h 4623784"/>
              <a:gd name="connsiteX0" fmla="*/ 12879 w 5300054"/>
              <a:gd name="connsiteY0" fmla="*/ 643944 h 4623784"/>
              <a:gd name="connsiteX1" fmla="*/ 5300054 w 5300054"/>
              <a:gd name="connsiteY1" fmla="*/ 0 h 4623784"/>
              <a:gd name="connsiteX2" fmla="*/ 5300054 w 5300054"/>
              <a:gd name="connsiteY2" fmla="*/ 3433343 h 4623784"/>
              <a:gd name="connsiteX3" fmla="*/ 0 w 5300054"/>
              <a:gd name="connsiteY3" fmla="*/ 4623784 h 4623784"/>
              <a:gd name="connsiteX4" fmla="*/ 12879 w 5300054"/>
              <a:gd name="connsiteY4" fmla="*/ 643944 h 4623784"/>
              <a:gd name="connsiteX0" fmla="*/ 12879 w 5300054"/>
              <a:gd name="connsiteY0" fmla="*/ 643944 h 4623784"/>
              <a:gd name="connsiteX1" fmla="*/ 5300054 w 5300054"/>
              <a:gd name="connsiteY1" fmla="*/ 0 h 4623784"/>
              <a:gd name="connsiteX2" fmla="*/ 5300054 w 5300054"/>
              <a:gd name="connsiteY2" fmla="*/ 3809271 h 4623784"/>
              <a:gd name="connsiteX3" fmla="*/ 0 w 5300054"/>
              <a:gd name="connsiteY3" fmla="*/ 4623784 h 4623784"/>
              <a:gd name="connsiteX4" fmla="*/ 12879 w 5300054"/>
              <a:gd name="connsiteY4" fmla="*/ 643944 h 4623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0054" h="4623784">
                <a:moveTo>
                  <a:pt x="12879" y="643944"/>
                </a:moveTo>
                <a:lnTo>
                  <a:pt x="5300054" y="0"/>
                </a:lnTo>
                <a:lnTo>
                  <a:pt x="5300054" y="3809271"/>
                </a:lnTo>
                <a:lnTo>
                  <a:pt x="0" y="4623784"/>
                </a:lnTo>
                <a:lnTo>
                  <a:pt x="12879" y="643944"/>
                </a:lnTo>
                <a:close/>
              </a:path>
            </a:pathLst>
          </a:cu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4" name="Imagen 93" descr="Icono&#10;&#10;Descripción generada automáticamente">
            <a:extLst>
              <a:ext uri="{FF2B5EF4-FFF2-40B4-BE49-F238E27FC236}">
                <a16:creationId xmlns:a16="http://schemas.microsoft.com/office/drawing/2014/main" id="{5E9D1BA1-3F50-A2E6-196E-D8A3193B04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502171" y="2486907"/>
            <a:ext cx="396279" cy="326348"/>
          </a:xfrm>
          <a:prstGeom prst="rect">
            <a:avLst/>
          </a:prstGeom>
        </p:spPr>
      </p:pic>
      <p:pic>
        <p:nvPicPr>
          <p:cNvPr id="95" name="Imagen 94" descr="Icono&#10;&#10;Descripción generada automáticamente">
            <a:extLst>
              <a:ext uri="{FF2B5EF4-FFF2-40B4-BE49-F238E27FC236}">
                <a16:creationId xmlns:a16="http://schemas.microsoft.com/office/drawing/2014/main" id="{3CE07C8C-34A9-4A6E-B018-2F41CBFAB2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07" y="2206539"/>
            <a:ext cx="524487" cy="524487"/>
          </a:xfrm>
          <a:prstGeom prst="rect">
            <a:avLst/>
          </a:prstGeom>
        </p:spPr>
      </p:pic>
      <p:pic>
        <p:nvPicPr>
          <p:cNvPr id="96" name="Imagen 95">
            <a:extLst>
              <a:ext uri="{FF2B5EF4-FFF2-40B4-BE49-F238E27FC236}">
                <a16:creationId xmlns:a16="http://schemas.microsoft.com/office/drawing/2014/main" id="{8CD24DD2-400D-0E54-BE70-E20246F8FB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557553" y="1894167"/>
            <a:ext cx="262932" cy="317710"/>
          </a:xfrm>
          <a:prstGeom prst="rect">
            <a:avLst/>
          </a:prstGeom>
        </p:spPr>
      </p:pic>
      <p:pic>
        <p:nvPicPr>
          <p:cNvPr id="97" name="Imagen 96">
            <a:extLst>
              <a:ext uri="{FF2B5EF4-FFF2-40B4-BE49-F238E27FC236}">
                <a16:creationId xmlns:a16="http://schemas.microsoft.com/office/drawing/2014/main" id="{14BF83B3-074A-DB33-F444-DAC09E93B2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36006">
            <a:off x="1450639" y="1812851"/>
            <a:ext cx="897026" cy="69002"/>
          </a:xfrm>
          <a:prstGeom prst="rect">
            <a:avLst/>
          </a:prstGeom>
        </p:spPr>
      </p:pic>
      <p:pic>
        <p:nvPicPr>
          <p:cNvPr id="98" name="Imagen 97">
            <a:extLst>
              <a:ext uri="{FF2B5EF4-FFF2-40B4-BE49-F238E27FC236}">
                <a16:creationId xmlns:a16="http://schemas.microsoft.com/office/drawing/2014/main" id="{7C68FD6F-FE27-37E1-3F0D-843864956B4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45326">
            <a:off x="1230303" y="3407378"/>
            <a:ext cx="1299538" cy="69002"/>
          </a:xfrm>
          <a:prstGeom prst="rect">
            <a:avLst/>
          </a:prstGeom>
        </p:spPr>
      </p:pic>
      <p:pic>
        <p:nvPicPr>
          <p:cNvPr id="100" name="Imagen 99" descr="Imagen que contiene objeto, antena&#10;&#10;Descripción generada automáticamente">
            <a:extLst>
              <a:ext uri="{FF2B5EF4-FFF2-40B4-BE49-F238E27FC236}">
                <a16:creationId xmlns:a16="http://schemas.microsoft.com/office/drawing/2014/main" id="{67720BE0-EA19-6CB2-CAE1-8E2113B5A1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32281" y="2609952"/>
            <a:ext cx="990698" cy="396279"/>
          </a:xfrm>
          <a:prstGeom prst="rect">
            <a:avLst/>
          </a:prstGeom>
        </p:spPr>
      </p:pic>
      <p:pic>
        <p:nvPicPr>
          <p:cNvPr id="101" name="Imagen 100" descr="Forma&#10;&#10;Descripción generada automáticamente">
            <a:extLst>
              <a:ext uri="{FF2B5EF4-FFF2-40B4-BE49-F238E27FC236}">
                <a16:creationId xmlns:a16="http://schemas.microsoft.com/office/drawing/2014/main" id="{FEDE0453-98CD-F05E-7B86-C3370B8F5D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66136">
            <a:off x="3922012" y="1593316"/>
            <a:ext cx="990698" cy="1258769"/>
          </a:xfrm>
          <a:prstGeom prst="rect">
            <a:avLst/>
          </a:prstGeom>
        </p:spPr>
      </p:pic>
      <p:pic>
        <p:nvPicPr>
          <p:cNvPr id="102" name="Imagen 101" descr="Icono&#10;&#10;Descripción generada automáticamente con confianza media">
            <a:extLst>
              <a:ext uri="{FF2B5EF4-FFF2-40B4-BE49-F238E27FC236}">
                <a16:creationId xmlns:a16="http://schemas.microsoft.com/office/drawing/2014/main" id="{4774DC4F-761E-48F7-310D-42A2D4E09A7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496" y="5448256"/>
            <a:ext cx="466211" cy="349658"/>
          </a:xfrm>
          <a:prstGeom prst="rect">
            <a:avLst/>
          </a:prstGeom>
        </p:spPr>
      </p:pic>
      <p:pic>
        <p:nvPicPr>
          <p:cNvPr id="103" name="Imagen 102" descr="Forma&#10;&#10;Descripción generada automáticamente">
            <a:extLst>
              <a:ext uri="{FF2B5EF4-FFF2-40B4-BE49-F238E27FC236}">
                <a16:creationId xmlns:a16="http://schemas.microsoft.com/office/drawing/2014/main" id="{878286F6-01AA-E237-378F-8BC4B9F67A7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684" y="4598011"/>
            <a:ext cx="839179" cy="839179"/>
          </a:xfrm>
          <a:prstGeom prst="rect">
            <a:avLst/>
          </a:prstGeom>
        </p:spPr>
      </p:pic>
      <p:pic>
        <p:nvPicPr>
          <p:cNvPr id="104" name="Imagen 103" descr="Dibujo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27CF14A5-6A75-619A-EE69-9846153090B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6168" y="5438709"/>
            <a:ext cx="396279" cy="396279"/>
          </a:xfrm>
          <a:prstGeom prst="rect">
            <a:avLst/>
          </a:prstGeom>
        </p:spPr>
      </p:pic>
      <p:pic>
        <p:nvPicPr>
          <p:cNvPr id="105" name="Imagen 104" descr="Rectángulo&#10;&#10;Descripción generada automáticamente con confianza media">
            <a:extLst>
              <a:ext uri="{FF2B5EF4-FFF2-40B4-BE49-F238E27FC236}">
                <a16:creationId xmlns:a16="http://schemas.microsoft.com/office/drawing/2014/main" id="{E00C25DD-3C77-FCAB-2208-B2B099E7CB2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823258" y="3833893"/>
            <a:ext cx="1060630" cy="594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383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36350C-1316-F24D-AF13-04E3FD5E0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124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45674"/>
              </p:ext>
            </p:ext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2CC767-961F-9149-AEEC-12D37E650D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Uso de la plantilla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E4040C3-BD43-4580-DCBF-E48421CF1B79}"/>
              </a:ext>
            </a:extLst>
          </p:cNvPr>
          <p:cNvSpPr txBox="1"/>
          <p:nvPr/>
        </p:nvSpPr>
        <p:spPr>
          <a:xfrm>
            <a:off x="6030411" y="1320486"/>
            <a:ext cx="348593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Utiliza los elementos constructivos y mobiliario que te ofrecemos para realizar el plano de la vivienda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Puedes usar las guías de escala que te proporcionamos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Asegúrate de que todos los elementos y mobiliario están en el frente.</a:t>
            </a:r>
            <a:br>
              <a:rPr lang="es-ES" sz="1200" dirty="0">
                <a:solidFill>
                  <a:srgbClr val="484848"/>
                </a:solidFill>
                <a:latin typeface="Arial"/>
              </a:rPr>
            </a:br>
            <a:r>
              <a:rPr lang="es-ES" sz="1200" dirty="0">
                <a:solidFill>
                  <a:srgbClr val="484848"/>
                </a:solidFill>
                <a:latin typeface="Arial"/>
              </a:rPr>
              <a:t>(clic derecho&gt; traer al frente&gt; traer al frente)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Puedes añadir las medidas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CC3473EF-1686-6DB2-D97A-47A4C87E71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968" y="1320485"/>
            <a:ext cx="5644333" cy="2965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2264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30460"/>
              </p:ext>
            </p:ext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n 12">
            <a:extLst>
              <a:ext uri="{FF2B5EF4-FFF2-40B4-BE49-F238E27FC236}">
                <a16:creationId xmlns:a16="http://schemas.microsoft.com/office/drawing/2014/main" id="{1A71638E-219A-9613-6122-6E7CC7481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967" y="3934047"/>
            <a:ext cx="5209403" cy="273540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72CC767-961F-9149-AEEC-12D37E650D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Crear formas complejas por unión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2D49DE13-44EC-D102-6D52-F8083C6F0872}"/>
              </a:ext>
            </a:extLst>
          </p:cNvPr>
          <p:cNvSpPr txBox="1"/>
          <p:nvPr/>
        </p:nvSpPr>
        <p:spPr>
          <a:xfrm>
            <a:off x="6203417" y="1250224"/>
            <a:ext cx="305724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Selecciona las formas que quieras unir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Ve a Formato de forma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Selecciona “Unir”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Las formas seleccionadas se unirán</a:t>
            </a: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059D004A-BBE4-9D62-8190-938EC792E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968" y="1091993"/>
            <a:ext cx="5209403" cy="2740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03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838615"/>
              </p:ext>
            </p:ext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2CC767-961F-9149-AEEC-12D37E650D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Modificar la forma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8394D84A-F0C9-7342-07FB-A58687548D88}"/>
              </a:ext>
            </a:extLst>
          </p:cNvPr>
          <p:cNvSpPr txBox="1"/>
          <p:nvPr/>
        </p:nvSpPr>
        <p:spPr>
          <a:xfrm>
            <a:off x="6203417" y="1203568"/>
            <a:ext cx="317266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Selecciona la forma a modificar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Ve a Formato de forma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Selecciona “Modificar puntos”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Podrás modificar la forma haciendo clic </a:t>
            </a:r>
            <a:br>
              <a:rPr lang="es-ES" sz="1200" dirty="0">
                <a:solidFill>
                  <a:srgbClr val="484848"/>
                </a:solidFill>
                <a:latin typeface="Arial"/>
              </a:rPr>
            </a:br>
            <a:r>
              <a:rPr lang="es-ES" sz="1200" dirty="0">
                <a:solidFill>
                  <a:srgbClr val="484848"/>
                </a:solidFill>
                <a:latin typeface="Arial"/>
              </a:rPr>
              <a:t>en los puntos y vértices de la forma que </a:t>
            </a:r>
            <a:br>
              <a:rPr lang="es-ES" sz="1200" dirty="0">
                <a:solidFill>
                  <a:srgbClr val="484848"/>
                </a:solidFill>
                <a:latin typeface="Arial"/>
              </a:rPr>
            </a:br>
            <a:r>
              <a:rPr lang="es-ES" sz="1200" dirty="0">
                <a:solidFill>
                  <a:srgbClr val="484848"/>
                </a:solidFill>
                <a:latin typeface="Arial"/>
              </a:rPr>
              <a:t>quieras modificar</a:t>
            </a:r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id="{853AEE36-11AF-47BA-5AC0-18DADC697C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7967" y="1091993"/>
            <a:ext cx="5209403" cy="275865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BCA199D3-7888-BADB-46AE-04F732F710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7967" y="3973418"/>
            <a:ext cx="5218059" cy="2758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659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376602"/>
              </p:ext>
            </p:ext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472CC767-961F-9149-AEEC-12D37E650D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xportar plano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74572CDE-70E5-FFE1-F716-BD699065CB23}"/>
              </a:ext>
            </a:extLst>
          </p:cNvPr>
          <p:cNvSpPr txBox="1"/>
          <p:nvPr/>
        </p:nvSpPr>
        <p:spPr>
          <a:xfrm>
            <a:off x="6203417" y="1156779"/>
            <a:ext cx="28392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Selecciona la forma a guardar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Haz clic derecho</a:t>
            </a:r>
          </a:p>
          <a:p>
            <a:pPr marL="228600" indent="-228600">
              <a:buAutoNum type="arabicPeriod"/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Selecciona “Guardar como imagen”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8E4EA092-59F7-2F9C-C8DA-8BD119C7DC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656" y="1156779"/>
            <a:ext cx="5747771" cy="4020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6284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CD0F3177-4AFA-409E-8CF4-70762A349CB5}"/>
              </a:ext>
            </a:extLst>
          </p:cNvPr>
          <p:cNvSpPr txBox="1"/>
          <p:nvPr/>
        </p:nvSpPr>
        <p:spPr>
          <a:xfrm>
            <a:off x="94164" y="1004761"/>
            <a:ext cx="806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Espacio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6AD03017-E031-4A8B-A595-3DA623B49B2F}"/>
              </a:ext>
            </a:extLst>
          </p:cNvPr>
          <p:cNvSpPr txBox="1"/>
          <p:nvPr/>
        </p:nvSpPr>
        <p:spPr>
          <a:xfrm>
            <a:off x="94164" y="5016412"/>
            <a:ext cx="7136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Puerta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3821553-D2A3-41F2-B6BB-EE7073CF5563}"/>
              </a:ext>
            </a:extLst>
          </p:cNvPr>
          <p:cNvSpPr txBox="1"/>
          <p:nvPr/>
        </p:nvSpPr>
        <p:spPr>
          <a:xfrm>
            <a:off x="105287" y="3329718"/>
            <a:ext cx="8238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Ventana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02AD19B-2B7A-4D2A-A7CC-A762BB0FF302}"/>
              </a:ext>
            </a:extLst>
          </p:cNvPr>
          <p:cNvSpPr txBox="1"/>
          <p:nvPr/>
        </p:nvSpPr>
        <p:spPr>
          <a:xfrm>
            <a:off x="3389925" y="1021713"/>
            <a:ext cx="773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Terrazas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BC0F9B93-DF31-4080-A6D6-9769BE99A5BE}"/>
              </a:ext>
            </a:extLst>
          </p:cNvPr>
          <p:cNvSpPr/>
          <p:nvPr/>
        </p:nvSpPr>
        <p:spPr>
          <a:xfrm>
            <a:off x="3495005" y="1358152"/>
            <a:ext cx="1001400" cy="579132"/>
          </a:xfrm>
          <a:prstGeom prst="rect">
            <a:avLst/>
          </a:prstGeom>
          <a:noFill/>
          <a:ln w="5715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71DE6B5D-3990-4ED4-8DF7-231B63F23C72}"/>
              </a:ext>
            </a:extLst>
          </p:cNvPr>
          <p:cNvSpPr/>
          <p:nvPr/>
        </p:nvSpPr>
        <p:spPr>
          <a:xfrm>
            <a:off x="177968" y="1377771"/>
            <a:ext cx="781719" cy="1057013"/>
          </a:xfrm>
          <a:prstGeom prst="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85" name="Conector recto 84">
            <a:extLst>
              <a:ext uri="{FF2B5EF4-FFF2-40B4-BE49-F238E27FC236}">
                <a16:creationId xmlns:a16="http://schemas.microsoft.com/office/drawing/2014/main" id="{887BB3AA-9233-4652-A34C-11B715BC8513}"/>
              </a:ext>
            </a:extLst>
          </p:cNvPr>
          <p:cNvCxnSpPr>
            <a:cxnSpLocks/>
          </p:cNvCxnSpPr>
          <p:nvPr/>
        </p:nvCxnSpPr>
        <p:spPr>
          <a:xfrm>
            <a:off x="1154402" y="1377771"/>
            <a:ext cx="559558" cy="0"/>
          </a:xfrm>
          <a:prstGeom prst="line">
            <a:avLst/>
          </a:prstGeom>
          <a:ln w="5080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>
            <a:extLst>
              <a:ext uri="{FF2B5EF4-FFF2-40B4-BE49-F238E27FC236}">
                <a16:creationId xmlns:a16="http://schemas.microsoft.com/office/drawing/2014/main" id="{472CC767-961F-9149-AEEC-12D37E650D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lementos del plano</a:t>
            </a:r>
          </a:p>
        </p:txBody>
      </p:sp>
      <p:sp>
        <p:nvSpPr>
          <p:cNvPr id="90" name="Recortar rectángulo de una esquina 89">
            <a:extLst>
              <a:ext uri="{FF2B5EF4-FFF2-40B4-BE49-F238E27FC236}">
                <a16:creationId xmlns:a16="http://schemas.microsoft.com/office/drawing/2014/main" id="{B903C381-C70D-5B42-94B7-11574F0A6EBE}"/>
              </a:ext>
            </a:extLst>
          </p:cNvPr>
          <p:cNvSpPr/>
          <p:nvPr/>
        </p:nvSpPr>
        <p:spPr>
          <a:xfrm>
            <a:off x="2174219" y="1377771"/>
            <a:ext cx="781719" cy="1057013"/>
          </a:xfrm>
          <a:prstGeom prst="snip1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9" name="Imagen 98">
            <a:extLst>
              <a:ext uri="{FF2B5EF4-FFF2-40B4-BE49-F238E27FC236}">
                <a16:creationId xmlns:a16="http://schemas.microsoft.com/office/drawing/2014/main" id="{B673FFA1-BFB8-9B4C-87CD-C97B788B2A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3786" y="3924125"/>
            <a:ext cx="667020" cy="69002"/>
          </a:xfrm>
          <a:prstGeom prst="rect">
            <a:avLst/>
          </a:prstGeom>
        </p:spPr>
      </p:pic>
      <p:pic>
        <p:nvPicPr>
          <p:cNvPr id="100" name="Imagen 99">
            <a:extLst>
              <a:ext uri="{FF2B5EF4-FFF2-40B4-BE49-F238E27FC236}">
                <a16:creationId xmlns:a16="http://schemas.microsoft.com/office/drawing/2014/main" id="{55172F65-59CA-EF41-BEE7-F8577BA929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26" y="3935913"/>
            <a:ext cx="897026" cy="69002"/>
          </a:xfrm>
          <a:prstGeom prst="rect">
            <a:avLst/>
          </a:prstGeom>
        </p:spPr>
      </p:pic>
      <p:pic>
        <p:nvPicPr>
          <p:cNvPr id="101" name="Imagen 100">
            <a:extLst>
              <a:ext uri="{FF2B5EF4-FFF2-40B4-BE49-F238E27FC236}">
                <a16:creationId xmlns:a16="http://schemas.microsoft.com/office/drawing/2014/main" id="{0AD6D84B-3857-F348-B20E-D765B4B1C83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73" y="5603697"/>
            <a:ext cx="1299538" cy="69002"/>
          </a:xfrm>
          <a:prstGeom prst="rect">
            <a:avLst/>
          </a:prstGeom>
        </p:spPr>
      </p:pic>
      <p:pic>
        <p:nvPicPr>
          <p:cNvPr id="102" name="Imagen 101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642B9B76-A082-AB45-B9A9-4E1643C7FC2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053" y="5357050"/>
            <a:ext cx="1299538" cy="586517"/>
          </a:xfrm>
          <a:prstGeom prst="rect">
            <a:avLst/>
          </a:prstGeom>
        </p:spPr>
      </p:pic>
      <p:pic>
        <p:nvPicPr>
          <p:cNvPr id="103" name="Imagen 102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F1A3E023-5074-1D49-9459-19288BA749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276" y="5357050"/>
            <a:ext cx="655519" cy="586517"/>
          </a:xfrm>
          <a:prstGeom prst="rect">
            <a:avLst/>
          </a:prstGeom>
        </p:spPr>
      </p:pic>
      <p:pic>
        <p:nvPicPr>
          <p:cNvPr id="104" name="Imagen 103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B3D36C96-A136-9347-BDF8-121E7685238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1560" y="5368226"/>
            <a:ext cx="655519" cy="586517"/>
          </a:xfrm>
          <a:prstGeom prst="rect">
            <a:avLst/>
          </a:prstGeom>
        </p:spPr>
      </p:pic>
      <p:sp>
        <p:nvSpPr>
          <p:cNvPr id="107" name="Recortar rectángulo de una esquina 106">
            <a:extLst>
              <a:ext uri="{FF2B5EF4-FFF2-40B4-BE49-F238E27FC236}">
                <a16:creationId xmlns:a16="http://schemas.microsoft.com/office/drawing/2014/main" id="{48D00E56-3FDC-6D4B-BE2D-0D20700EC689}"/>
              </a:ext>
            </a:extLst>
          </p:cNvPr>
          <p:cNvSpPr/>
          <p:nvPr/>
        </p:nvSpPr>
        <p:spPr>
          <a:xfrm>
            <a:off x="4980905" y="1358152"/>
            <a:ext cx="1001400" cy="1057012"/>
          </a:xfrm>
          <a:prstGeom prst="snip1Rect">
            <a:avLst/>
          </a:prstGeom>
          <a:noFill/>
          <a:ln w="5715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2" name="Rectángulo 111">
            <a:extLst>
              <a:ext uri="{FF2B5EF4-FFF2-40B4-BE49-F238E27FC236}">
                <a16:creationId xmlns:a16="http://schemas.microsoft.com/office/drawing/2014/main" id="{145E5D04-2497-6440-97F1-BF32070DF82F}"/>
              </a:ext>
            </a:extLst>
          </p:cNvPr>
          <p:cNvSpPr/>
          <p:nvPr/>
        </p:nvSpPr>
        <p:spPr>
          <a:xfrm>
            <a:off x="1161073" y="1576158"/>
            <a:ext cx="566227" cy="331421"/>
          </a:xfrm>
          <a:prstGeom prst="rect">
            <a:avLst/>
          </a:prstGeom>
          <a:solidFill>
            <a:schemeClr val="bg1">
              <a:lumMod val="65000"/>
            </a:schemeClr>
          </a:solidFill>
          <a:ln w="571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6567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to 74" hidden="1">
            <a:extLst>
              <a:ext uri="{FF2B5EF4-FFF2-40B4-BE49-F238E27FC236}">
                <a16:creationId xmlns:a16="http://schemas.microsoft.com/office/drawing/2014/main" id="{AE93E8B7-D2D7-4968-844D-FC93D2C14B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0007838"/>
              </p:ext>
            </p:extLst>
          </p:nvPr>
        </p:nvGraphicFramePr>
        <p:xfrm>
          <a:off x="-1141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6" progId="TCLayout.ActiveDocument.1">
                  <p:embed/>
                </p:oleObj>
              </mc:Choice>
              <mc:Fallback>
                <p:oleObj name="Diapositiva de think-cell" r:id="rId3" imgW="395" imgH="396" progId="TCLayout.ActiveDocument.1">
                  <p:embed/>
                  <p:pic>
                    <p:nvPicPr>
                      <p:cNvPr id="75" name="Objeto 74" hidden="1">
                        <a:extLst>
                          <a:ext uri="{FF2B5EF4-FFF2-40B4-BE49-F238E27FC236}">
                            <a16:creationId xmlns:a16="http://schemas.microsoft.com/office/drawing/2014/main" id="{AE93E8B7-D2D7-4968-844D-FC93D2C14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141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B754530D-8B70-4D01-84F1-64CD13B3D0BC}"/>
              </a:ext>
            </a:extLst>
          </p:cNvPr>
          <p:cNvSpPr txBox="1"/>
          <p:nvPr/>
        </p:nvSpPr>
        <p:spPr>
          <a:xfrm>
            <a:off x="102408" y="1024010"/>
            <a:ext cx="8579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Escaleras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472CC767-961F-9149-AEEC-12D37E650DB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 vert="horz"/>
          <a:lstStyle/>
          <a:p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lementos del plano</a:t>
            </a:r>
          </a:p>
        </p:txBody>
      </p:sp>
      <p:pic>
        <p:nvPicPr>
          <p:cNvPr id="79" name="Imagen 78" descr="Imagen que contiene biombo, edificio&#10;&#10;Descripción generada automáticamente">
            <a:extLst>
              <a:ext uri="{FF2B5EF4-FFF2-40B4-BE49-F238E27FC236}">
                <a16:creationId xmlns:a16="http://schemas.microsoft.com/office/drawing/2014/main" id="{04024223-D08B-8545-93B5-A770D17953D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256" y="1612901"/>
            <a:ext cx="1578624" cy="1946574"/>
          </a:xfrm>
          <a:prstGeom prst="rect">
            <a:avLst/>
          </a:prstGeom>
        </p:spPr>
      </p:pic>
      <p:pic>
        <p:nvPicPr>
          <p:cNvPr id="80" name="Imagen 79" descr="Imagen que contiene biombo, edificio&#10;&#10;Descripción generada automáticamente">
            <a:extLst>
              <a:ext uri="{FF2B5EF4-FFF2-40B4-BE49-F238E27FC236}">
                <a16:creationId xmlns:a16="http://schemas.microsoft.com/office/drawing/2014/main" id="{579AC0FA-A34E-9542-BE1E-199175E6005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1007" y="1612901"/>
            <a:ext cx="1578624" cy="1946574"/>
          </a:xfrm>
          <a:prstGeom prst="rect">
            <a:avLst/>
          </a:prstGeom>
        </p:spPr>
      </p:pic>
      <p:pic>
        <p:nvPicPr>
          <p:cNvPr id="81" name="Imagen 80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C5B4E65F-EBEE-A945-A2F0-BA0E902384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3201" y="1612901"/>
            <a:ext cx="2124614" cy="1554885"/>
          </a:xfrm>
          <a:prstGeom prst="rect">
            <a:avLst/>
          </a:prstGeom>
        </p:spPr>
      </p:pic>
      <p:pic>
        <p:nvPicPr>
          <p:cNvPr id="82" name="Imagen 81" descr="Imagen en blanco y negro&#10;&#10;Descripción generada automáticamente con confianza baja">
            <a:extLst>
              <a:ext uri="{FF2B5EF4-FFF2-40B4-BE49-F238E27FC236}">
                <a16:creationId xmlns:a16="http://schemas.microsoft.com/office/drawing/2014/main" id="{223AD387-2D39-374F-ACF5-22F17450D2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516" y="1612901"/>
            <a:ext cx="2124614" cy="1554885"/>
          </a:xfrm>
          <a:prstGeom prst="rect">
            <a:avLst/>
          </a:prstGeom>
        </p:spPr>
      </p:pic>
      <p:pic>
        <p:nvPicPr>
          <p:cNvPr id="83" name="Imagen 82" descr="Imagen que contiene biombo, edificio, juego, ave&#10;&#10;Descripción generada automáticamente">
            <a:extLst>
              <a:ext uri="{FF2B5EF4-FFF2-40B4-BE49-F238E27FC236}">
                <a16:creationId xmlns:a16="http://schemas.microsoft.com/office/drawing/2014/main" id="{0D93C27B-858B-9C46-B3CD-9522C04A38B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969" y="1612901"/>
            <a:ext cx="795247" cy="1341237"/>
          </a:xfrm>
          <a:prstGeom prst="rect">
            <a:avLst/>
          </a:prstGeom>
        </p:spPr>
      </p:pic>
      <p:sp>
        <p:nvSpPr>
          <p:cNvPr id="84" name="CuadroTexto 83">
            <a:extLst>
              <a:ext uri="{FF2B5EF4-FFF2-40B4-BE49-F238E27FC236}">
                <a16:creationId xmlns:a16="http://schemas.microsoft.com/office/drawing/2014/main" id="{B79B2285-A64D-C84D-9590-B58E20E29087}"/>
              </a:ext>
            </a:extLst>
          </p:cNvPr>
          <p:cNvSpPr txBox="1"/>
          <p:nvPr/>
        </p:nvSpPr>
        <p:spPr>
          <a:xfrm>
            <a:off x="5792617" y="4501921"/>
            <a:ext cx="15424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Propiedad </a:t>
            </a:r>
            <a:r>
              <a:rPr lang="es-ES" sz="1200" dirty="0">
                <a:solidFill>
                  <a:srgbClr val="FF0000"/>
                </a:solidFill>
                <a:latin typeface="Arial"/>
              </a:rPr>
              <a:t>……..</a:t>
            </a:r>
            <a:r>
              <a:rPr lang="es-ES" sz="1200" dirty="0">
                <a:solidFill>
                  <a:srgbClr val="484848"/>
                </a:solidFill>
                <a:latin typeface="Arial"/>
              </a:rPr>
              <a:t> m²</a:t>
            </a:r>
          </a:p>
        </p:txBody>
      </p:sp>
      <p:sp>
        <p:nvSpPr>
          <p:cNvPr id="87" name="CuadroTexto 86">
            <a:extLst>
              <a:ext uri="{FF2B5EF4-FFF2-40B4-BE49-F238E27FC236}">
                <a16:creationId xmlns:a16="http://schemas.microsoft.com/office/drawing/2014/main" id="{D0D0E62F-F741-3742-B2E4-DB47146F1B70}"/>
              </a:ext>
            </a:extLst>
          </p:cNvPr>
          <p:cNvSpPr txBox="1"/>
          <p:nvPr/>
        </p:nvSpPr>
        <p:spPr>
          <a:xfrm>
            <a:off x="102408" y="3867146"/>
            <a:ext cx="12153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Nomenclaturas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id="{701E377B-EB02-914A-B0EE-BAE5B63D4786}"/>
              </a:ext>
            </a:extLst>
          </p:cNvPr>
          <p:cNvSpPr txBox="1"/>
          <p:nvPr/>
        </p:nvSpPr>
        <p:spPr>
          <a:xfrm>
            <a:off x="104886" y="4894642"/>
            <a:ext cx="58221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Cocina</a:t>
            </a:r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C8BBA68A-E4EE-1A44-8ADF-EBD002A78538}"/>
              </a:ext>
            </a:extLst>
          </p:cNvPr>
          <p:cNvSpPr txBox="1"/>
          <p:nvPr/>
        </p:nvSpPr>
        <p:spPr>
          <a:xfrm>
            <a:off x="120666" y="4382682"/>
            <a:ext cx="4812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Baño</a:t>
            </a: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id="{09BEB070-452A-894C-AFE1-017144C1DAD5}"/>
              </a:ext>
            </a:extLst>
          </p:cNvPr>
          <p:cNvSpPr txBox="1"/>
          <p:nvPr/>
        </p:nvSpPr>
        <p:spPr>
          <a:xfrm>
            <a:off x="131031" y="4137021"/>
            <a:ext cx="4748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Aseo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id="{EDFF907C-0FE6-194F-B9A7-9018B9EEC872}"/>
              </a:ext>
            </a:extLst>
          </p:cNvPr>
          <p:cNvSpPr txBox="1"/>
          <p:nvPr/>
        </p:nvSpPr>
        <p:spPr>
          <a:xfrm>
            <a:off x="1190881" y="4902381"/>
            <a:ext cx="51007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Salón</a:t>
            </a:r>
          </a:p>
        </p:txBody>
      </p:sp>
      <p:sp>
        <p:nvSpPr>
          <p:cNvPr id="93" name="CuadroTexto 92">
            <a:extLst>
              <a:ext uri="{FF2B5EF4-FFF2-40B4-BE49-F238E27FC236}">
                <a16:creationId xmlns:a16="http://schemas.microsoft.com/office/drawing/2014/main" id="{F6FD6EAD-365A-D643-B635-90841F363812}"/>
              </a:ext>
            </a:extLst>
          </p:cNvPr>
          <p:cNvSpPr txBox="1"/>
          <p:nvPr/>
        </p:nvSpPr>
        <p:spPr>
          <a:xfrm>
            <a:off x="2261819" y="4166403"/>
            <a:ext cx="7248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Recibidor</a:t>
            </a:r>
          </a:p>
        </p:txBody>
      </p:sp>
      <p:sp>
        <p:nvSpPr>
          <p:cNvPr id="94" name="CuadroTexto 93">
            <a:extLst>
              <a:ext uri="{FF2B5EF4-FFF2-40B4-BE49-F238E27FC236}">
                <a16:creationId xmlns:a16="http://schemas.microsoft.com/office/drawing/2014/main" id="{59480161-3ED2-D24E-B588-06FE3AC861AC}"/>
              </a:ext>
            </a:extLst>
          </p:cNvPr>
          <p:cNvSpPr txBox="1"/>
          <p:nvPr/>
        </p:nvSpPr>
        <p:spPr>
          <a:xfrm>
            <a:off x="1193772" y="4651354"/>
            <a:ext cx="56137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Pasillo</a:t>
            </a:r>
          </a:p>
        </p:txBody>
      </p:sp>
      <p:sp>
        <p:nvSpPr>
          <p:cNvPr id="95" name="CuadroTexto 94">
            <a:extLst>
              <a:ext uri="{FF2B5EF4-FFF2-40B4-BE49-F238E27FC236}">
                <a16:creationId xmlns:a16="http://schemas.microsoft.com/office/drawing/2014/main" id="{A702BFCC-E786-184B-8C07-35A4D846B7E0}"/>
              </a:ext>
            </a:extLst>
          </p:cNvPr>
          <p:cNvSpPr txBox="1"/>
          <p:nvPr/>
        </p:nvSpPr>
        <p:spPr>
          <a:xfrm>
            <a:off x="2261500" y="4653755"/>
            <a:ext cx="62549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Terraza</a:t>
            </a:r>
          </a:p>
        </p:txBody>
      </p:sp>
      <p:sp>
        <p:nvSpPr>
          <p:cNvPr id="97" name="CuadroTexto 96">
            <a:extLst>
              <a:ext uri="{FF2B5EF4-FFF2-40B4-BE49-F238E27FC236}">
                <a16:creationId xmlns:a16="http://schemas.microsoft.com/office/drawing/2014/main" id="{AF6D4581-D436-004D-84BA-DC0E7B0A0724}"/>
              </a:ext>
            </a:extLst>
          </p:cNvPr>
          <p:cNvSpPr txBox="1"/>
          <p:nvPr/>
        </p:nvSpPr>
        <p:spPr>
          <a:xfrm>
            <a:off x="1193966" y="4175040"/>
            <a:ext cx="77617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Dormitorio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:a16="http://schemas.microsoft.com/office/drawing/2014/main" id="{7B1DFA3B-2868-A14B-964B-8C65E0141E76}"/>
              </a:ext>
            </a:extLst>
          </p:cNvPr>
          <p:cNvSpPr txBox="1"/>
          <p:nvPr/>
        </p:nvSpPr>
        <p:spPr>
          <a:xfrm>
            <a:off x="113228" y="4640375"/>
            <a:ext cx="75212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Buhardilla</a:t>
            </a:r>
          </a:p>
        </p:txBody>
      </p:sp>
      <p:sp>
        <p:nvSpPr>
          <p:cNvPr id="106" name="CuadroTexto 105">
            <a:extLst>
              <a:ext uri="{FF2B5EF4-FFF2-40B4-BE49-F238E27FC236}">
                <a16:creationId xmlns:a16="http://schemas.microsoft.com/office/drawing/2014/main" id="{EAFD10DA-ECF4-C349-BEF2-0CA4C3258AA3}"/>
              </a:ext>
            </a:extLst>
          </p:cNvPr>
          <p:cNvSpPr txBox="1"/>
          <p:nvPr/>
        </p:nvSpPr>
        <p:spPr>
          <a:xfrm>
            <a:off x="2265182" y="4412578"/>
            <a:ext cx="58702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Sótano</a:t>
            </a:r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83D5DFF1-043B-8348-A1D3-6B745FD9FEB1}"/>
              </a:ext>
            </a:extLst>
          </p:cNvPr>
          <p:cNvSpPr txBox="1"/>
          <p:nvPr/>
        </p:nvSpPr>
        <p:spPr>
          <a:xfrm>
            <a:off x="2258960" y="4890251"/>
            <a:ext cx="6607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Trastero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id="{B8FCEFAE-4B86-924F-8410-CD3B780206DD}"/>
              </a:ext>
            </a:extLst>
          </p:cNvPr>
          <p:cNvSpPr txBox="1"/>
          <p:nvPr/>
        </p:nvSpPr>
        <p:spPr>
          <a:xfrm>
            <a:off x="1197701" y="4390343"/>
            <a:ext cx="56778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Garaje</a:t>
            </a:r>
          </a:p>
        </p:txBody>
      </p:sp>
      <p:sp>
        <p:nvSpPr>
          <p:cNvPr id="109" name="CuadroTexto 108">
            <a:extLst>
              <a:ext uri="{FF2B5EF4-FFF2-40B4-BE49-F238E27FC236}">
                <a16:creationId xmlns:a16="http://schemas.microsoft.com/office/drawing/2014/main" id="{18852D49-D1BB-1145-84F5-A64308AE2349}"/>
              </a:ext>
            </a:extLst>
          </p:cNvPr>
          <p:cNvSpPr txBox="1"/>
          <p:nvPr/>
        </p:nvSpPr>
        <p:spPr>
          <a:xfrm>
            <a:off x="5778130" y="4175040"/>
            <a:ext cx="51167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18 m²</a:t>
            </a:r>
          </a:p>
        </p:txBody>
      </p: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019DA5AE-DC2F-454F-8495-6DBDE661BBE3}"/>
              </a:ext>
            </a:extLst>
          </p:cNvPr>
          <p:cNvSpPr txBox="1"/>
          <p:nvPr/>
        </p:nvSpPr>
        <p:spPr>
          <a:xfrm>
            <a:off x="116786" y="5173988"/>
            <a:ext cx="6233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Calle</a:t>
            </a:r>
          </a:p>
        </p:txBody>
      </p:sp>
      <p:sp>
        <p:nvSpPr>
          <p:cNvPr id="111" name="Triángulo isósceles 76">
            <a:extLst>
              <a:ext uri="{FF2B5EF4-FFF2-40B4-BE49-F238E27FC236}">
                <a16:creationId xmlns:a16="http://schemas.microsoft.com/office/drawing/2014/main" id="{BCB62CE0-BCDD-F243-8444-DF29C207C5AF}"/>
              </a:ext>
            </a:extLst>
          </p:cNvPr>
          <p:cNvSpPr/>
          <p:nvPr/>
        </p:nvSpPr>
        <p:spPr>
          <a:xfrm>
            <a:off x="4057169" y="4257129"/>
            <a:ext cx="244323" cy="203200"/>
          </a:xfrm>
          <a:prstGeom prst="triangle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dirty="0" err="1">
              <a:solidFill>
                <a:srgbClr val="484848"/>
              </a:solidFill>
              <a:latin typeface="Arial"/>
            </a:endParaRPr>
          </a:p>
        </p:txBody>
      </p:sp>
      <p:sp>
        <p:nvSpPr>
          <p:cNvPr id="112" name="CuadroTexto 111">
            <a:extLst>
              <a:ext uri="{FF2B5EF4-FFF2-40B4-BE49-F238E27FC236}">
                <a16:creationId xmlns:a16="http://schemas.microsoft.com/office/drawing/2014/main" id="{C7E9B686-F769-6A44-8F97-9A524A97B1B4}"/>
              </a:ext>
            </a:extLst>
          </p:cNvPr>
          <p:cNvSpPr txBox="1"/>
          <p:nvPr/>
        </p:nvSpPr>
        <p:spPr>
          <a:xfrm>
            <a:off x="3886331" y="4505792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Entrada</a:t>
            </a:r>
          </a:p>
        </p:txBody>
      </p:sp>
      <p:sp>
        <p:nvSpPr>
          <p:cNvPr id="113" name="CuadroTexto 112">
            <a:extLst>
              <a:ext uri="{FF2B5EF4-FFF2-40B4-BE49-F238E27FC236}">
                <a16:creationId xmlns:a16="http://schemas.microsoft.com/office/drawing/2014/main" id="{A6E26998-6546-2A41-9C57-9B6A089D3F90}"/>
              </a:ext>
            </a:extLst>
          </p:cNvPr>
          <p:cNvSpPr txBox="1"/>
          <p:nvPr/>
        </p:nvSpPr>
        <p:spPr>
          <a:xfrm>
            <a:off x="102408" y="5730670"/>
            <a:ext cx="15568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200" dirty="0">
                <a:solidFill>
                  <a:srgbClr val="484848"/>
                </a:solidFill>
                <a:latin typeface="Arial"/>
              </a:rPr>
              <a:t>Cotas para medidas</a:t>
            </a:r>
          </a:p>
        </p:txBody>
      </p:sp>
      <p:grpSp>
        <p:nvGrpSpPr>
          <p:cNvPr id="31" name="Grupo 30">
            <a:extLst>
              <a:ext uri="{FF2B5EF4-FFF2-40B4-BE49-F238E27FC236}">
                <a16:creationId xmlns:a16="http://schemas.microsoft.com/office/drawing/2014/main" id="{DFBA910A-0FC1-CB45-BE7B-9DF8A760CAB0}"/>
              </a:ext>
            </a:extLst>
          </p:cNvPr>
          <p:cNvGrpSpPr/>
          <p:nvPr/>
        </p:nvGrpSpPr>
        <p:grpSpPr>
          <a:xfrm>
            <a:off x="358815" y="6195019"/>
            <a:ext cx="1611325" cy="298378"/>
            <a:chOff x="358815" y="6195019"/>
            <a:chExt cx="2847372" cy="298378"/>
          </a:xfrm>
        </p:grpSpPr>
        <p:cxnSp>
          <p:nvCxnSpPr>
            <p:cNvPr id="25" name="Conector recto de flecha 24">
              <a:extLst>
                <a:ext uri="{FF2B5EF4-FFF2-40B4-BE49-F238E27FC236}">
                  <a16:creationId xmlns:a16="http://schemas.microsoft.com/office/drawing/2014/main" id="{BB756518-E40F-4440-85B3-352CEC82BB94}"/>
                </a:ext>
              </a:extLst>
            </p:cNvPr>
            <p:cNvCxnSpPr/>
            <p:nvPr/>
          </p:nvCxnSpPr>
          <p:spPr>
            <a:xfrm>
              <a:off x="358815" y="6493397"/>
              <a:ext cx="2847372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CuadroTexto 114">
              <a:extLst>
                <a:ext uri="{FF2B5EF4-FFF2-40B4-BE49-F238E27FC236}">
                  <a16:creationId xmlns:a16="http://schemas.microsoft.com/office/drawing/2014/main" id="{FDCA49EE-9DEA-0349-A84D-8986B7934E27}"/>
                </a:ext>
              </a:extLst>
            </p:cNvPr>
            <p:cNvSpPr txBox="1"/>
            <p:nvPr/>
          </p:nvSpPr>
          <p:spPr>
            <a:xfrm>
              <a:off x="1582053" y="6195019"/>
              <a:ext cx="43152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s-ES" sz="1000" dirty="0">
                  <a:solidFill>
                    <a:srgbClr val="484848"/>
                  </a:solidFill>
                  <a:latin typeface="Arial"/>
                </a:rPr>
                <a:t>1.00</a:t>
              </a:r>
            </a:p>
          </p:txBody>
        </p:sp>
      </p:grpSp>
      <p:grpSp>
        <p:nvGrpSpPr>
          <p:cNvPr id="29" name="Grupo 28">
            <a:extLst>
              <a:ext uri="{FF2B5EF4-FFF2-40B4-BE49-F238E27FC236}">
                <a16:creationId xmlns:a16="http://schemas.microsoft.com/office/drawing/2014/main" id="{408DC4C0-7348-3344-B8B2-4D21320B7337}"/>
              </a:ext>
            </a:extLst>
          </p:cNvPr>
          <p:cNvGrpSpPr/>
          <p:nvPr/>
        </p:nvGrpSpPr>
        <p:grpSpPr>
          <a:xfrm>
            <a:off x="2677841" y="5651748"/>
            <a:ext cx="292999" cy="927565"/>
            <a:chOff x="3886331" y="5642678"/>
            <a:chExt cx="292999" cy="927565"/>
          </a:xfrm>
        </p:grpSpPr>
        <p:cxnSp>
          <p:nvCxnSpPr>
            <p:cNvPr id="114" name="Conector recto de flecha 113">
              <a:extLst>
                <a:ext uri="{FF2B5EF4-FFF2-40B4-BE49-F238E27FC236}">
                  <a16:creationId xmlns:a16="http://schemas.microsoft.com/office/drawing/2014/main" id="{E208BC4E-F26C-9F43-8247-0152A89CF9EC}"/>
                </a:ext>
              </a:extLst>
            </p:cNvPr>
            <p:cNvCxnSpPr>
              <a:cxnSpLocks/>
            </p:cNvCxnSpPr>
            <p:nvPr/>
          </p:nvCxnSpPr>
          <p:spPr>
            <a:xfrm>
              <a:off x="4179330" y="5642678"/>
              <a:ext cx="0" cy="92756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CuadroTexto 115">
              <a:extLst>
                <a:ext uri="{FF2B5EF4-FFF2-40B4-BE49-F238E27FC236}">
                  <a16:creationId xmlns:a16="http://schemas.microsoft.com/office/drawing/2014/main" id="{B0CB6064-DEAA-9D44-9287-9272A597407D}"/>
                </a:ext>
              </a:extLst>
            </p:cNvPr>
            <p:cNvSpPr txBox="1"/>
            <p:nvPr/>
          </p:nvSpPr>
          <p:spPr>
            <a:xfrm rot="16200000">
              <a:off x="3793678" y="5961822"/>
              <a:ext cx="43152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s-ES" sz="1000" dirty="0">
                  <a:solidFill>
                    <a:srgbClr val="484848"/>
                  </a:solidFill>
                  <a:latin typeface="Arial"/>
                </a:rPr>
                <a:t>1.00</a:t>
              </a:r>
            </a:p>
          </p:txBody>
        </p:sp>
      </p:grpSp>
      <p:pic>
        <p:nvPicPr>
          <p:cNvPr id="35" name="Imagen 34" descr="Dibujo en fondo negro&#10;&#10;Descripción generada automáticamente con confianza baja">
            <a:extLst>
              <a:ext uri="{FF2B5EF4-FFF2-40B4-BE49-F238E27FC236}">
                <a16:creationId xmlns:a16="http://schemas.microsoft.com/office/drawing/2014/main" id="{A56FA07E-2024-0180-7D0F-BB7A7CFE45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6149" y="4257129"/>
            <a:ext cx="364863" cy="587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638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Imagen 106" descr="Imagen que contiene objeto, antena&#10;&#10;Descripción generada automáticamente">
            <a:extLst>
              <a:ext uri="{FF2B5EF4-FFF2-40B4-BE49-F238E27FC236}">
                <a16:creationId xmlns:a16="http://schemas.microsoft.com/office/drawing/2014/main" id="{F1895545-A516-6747-88A4-3AA27619C2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5515" y="4874499"/>
            <a:ext cx="990698" cy="396279"/>
          </a:xfrm>
          <a:prstGeom prst="rect">
            <a:avLst/>
          </a:prstGeom>
        </p:spPr>
      </p:pic>
      <p:pic>
        <p:nvPicPr>
          <p:cNvPr id="108" name="Imagen 107" descr="Imagen que contiene objeto, antena&#10;&#10;Descripción generada automáticamente">
            <a:extLst>
              <a:ext uri="{FF2B5EF4-FFF2-40B4-BE49-F238E27FC236}">
                <a16:creationId xmlns:a16="http://schemas.microsoft.com/office/drawing/2014/main" id="{56496FF2-503E-6F4E-A3FB-1120A00099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041" y="4874499"/>
            <a:ext cx="664350" cy="396279"/>
          </a:xfrm>
          <a:prstGeom prst="rect">
            <a:avLst/>
          </a:prstGeom>
        </p:spPr>
      </p:pic>
      <p:pic>
        <p:nvPicPr>
          <p:cNvPr id="109" name="Imagen 108" descr="Un dibujo de una cara feliz&#10;&#10;Descripción generada automáticamente con confianza baja">
            <a:extLst>
              <a:ext uri="{FF2B5EF4-FFF2-40B4-BE49-F238E27FC236}">
                <a16:creationId xmlns:a16="http://schemas.microsoft.com/office/drawing/2014/main" id="{766E5FA8-5E92-3947-8026-866CFF4DF5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186" y="2294694"/>
            <a:ext cx="990698" cy="524487"/>
          </a:xfrm>
          <a:prstGeom prst="rect">
            <a:avLst/>
          </a:prstGeom>
        </p:spPr>
      </p:pic>
      <p:pic>
        <p:nvPicPr>
          <p:cNvPr id="110" name="Imagen 109" descr="Forma&#10;&#10;Descripción generada automáticamente">
            <a:extLst>
              <a:ext uri="{FF2B5EF4-FFF2-40B4-BE49-F238E27FC236}">
                <a16:creationId xmlns:a16="http://schemas.microsoft.com/office/drawing/2014/main" id="{B4607BBB-C2A6-2441-BB43-D626710FB3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220" y="4874500"/>
            <a:ext cx="990698" cy="1258769"/>
          </a:xfrm>
          <a:prstGeom prst="rect">
            <a:avLst/>
          </a:prstGeom>
        </p:spPr>
      </p:pic>
      <p:pic>
        <p:nvPicPr>
          <p:cNvPr id="111" name="Imagen 110" descr="Forma, Polígono&#10;&#10;Descripción generada automáticamente">
            <a:extLst>
              <a:ext uri="{FF2B5EF4-FFF2-40B4-BE49-F238E27FC236}">
                <a16:creationId xmlns:a16="http://schemas.microsoft.com/office/drawing/2014/main" id="{03B9B895-612C-864B-B619-7387C2AB8DA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78" y="4874500"/>
            <a:ext cx="594419" cy="1258769"/>
          </a:xfrm>
          <a:prstGeom prst="rect">
            <a:avLst/>
          </a:prstGeom>
        </p:spPr>
      </p:pic>
      <p:pic>
        <p:nvPicPr>
          <p:cNvPr id="112" name="Imagen 111" descr="Forma&#10;&#10;Descripción generada automáticamente con confianza media">
            <a:extLst>
              <a:ext uri="{FF2B5EF4-FFF2-40B4-BE49-F238E27FC236}">
                <a16:creationId xmlns:a16="http://schemas.microsoft.com/office/drawing/2014/main" id="{F61433D8-3D75-C643-8E61-718AA7E5A2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821" y="3524218"/>
            <a:ext cx="1526840" cy="990698"/>
          </a:xfrm>
          <a:prstGeom prst="rect">
            <a:avLst/>
          </a:prstGeom>
        </p:spPr>
      </p:pic>
      <p:pic>
        <p:nvPicPr>
          <p:cNvPr id="113" name="Imagen 112" descr="Icono&#10;&#10;Descripción generada automáticamente">
            <a:extLst>
              <a:ext uri="{FF2B5EF4-FFF2-40B4-BE49-F238E27FC236}">
                <a16:creationId xmlns:a16="http://schemas.microsoft.com/office/drawing/2014/main" id="{F699329A-41C2-C04D-8C14-F169004268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78" y="1420010"/>
            <a:ext cx="396279" cy="349658"/>
          </a:xfrm>
          <a:prstGeom prst="rect">
            <a:avLst/>
          </a:prstGeom>
        </p:spPr>
      </p:pic>
      <p:pic>
        <p:nvPicPr>
          <p:cNvPr id="114" name="Imagen 113" descr="Icono&#10;&#10;Descripción generada automáticamente con confianza media">
            <a:extLst>
              <a:ext uri="{FF2B5EF4-FFF2-40B4-BE49-F238E27FC236}">
                <a16:creationId xmlns:a16="http://schemas.microsoft.com/office/drawing/2014/main" id="{DDD07202-14FF-8E4E-9E64-80B6A0BCA9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291" y="1418382"/>
            <a:ext cx="466211" cy="349658"/>
          </a:xfrm>
          <a:prstGeom prst="rect">
            <a:avLst/>
          </a:prstGeom>
        </p:spPr>
      </p:pic>
      <p:pic>
        <p:nvPicPr>
          <p:cNvPr id="115" name="Imagen 114" descr="Imagen que contiene Rectángulo&#10;&#10;Descripción generada automáticamente">
            <a:extLst>
              <a:ext uri="{FF2B5EF4-FFF2-40B4-BE49-F238E27FC236}">
                <a16:creationId xmlns:a16="http://schemas.microsoft.com/office/drawing/2014/main" id="{6EB91461-F721-EE4F-A240-BAE4F45E9A0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291" y="2294694"/>
            <a:ext cx="652695" cy="326348"/>
          </a:xfrm>
          <a:prstGeom prst="rect">
            <a:avLst/>
          </a:prstGeom>
        </p:spPr>
      </p:pic>
      <p:pic>
        <p:nvPicPr>
          <p:cNvPr id="116" name="Imagen 115" descr="Icono&#10;&#10;Descripción generada automáticamente">
            <a:extLst>
              <a:ext uri="{FF2B5EF4-FFF2-40B4-BE49-F238E27FC236}">
                <a16:creationId xmlns:a16="http://schemas.microsoft.com/office/drawing/2014/main" id="{06084580-BC04-0F46-AC68-E5404D6AAD3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036" y="2294694"/>
            <a:ext cx="396279" cy="326348"/>
          </a:xfrm>
          <a:prstGeom prst="rect">
            <a:avLst/>
          </a:prstGeom>
        </p:spPr>
      </p:pic>
      <p:pic>
        <p:nvPicPr>
          <p:cNvPr id="117" name="Imagen 116" descr="Forma&#10;&#10;Descripción generada automáticamente con confianza baja">
            <a:extLst>
              <a:ext uri="{FF2B5EF4-FFF2-40B4-BE49-F238E27FC236}">
                <a16:creationId xmlns:a16="http://schemas.microsoft.com/office/drawing/2014/main" id="{F5A33B41-DF85-8644-A209-8A98F7C2F0B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678" y="3429000"/>
            <a:ext cx="909111" cy="909111"/>
          </a:xfrm>
          <a:prstGeom prst="rect">
            <a:avLst/>
          </a:prstGeom>
        </p:spPr>
      </p:pic>
      <p:pic>
        <p:nvPicPr>
          <p:cNvPr id="118" name="Imagen 117" descr="Forma&#10;&#10;Descripción generada automáticamente">
            <a:extLst>
              <a:ext uri="{FF2B5EF4-FFF2-40B4-BE49-F238E27FC236}">
                <a16:creationId xmlns:a16="http://schemas.microsoft.com/office/drawing/2014/main" id="{21A02865-9A15-DC47-93AD-57EEE28E1E2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220" y="3463965"/>
            <a:ext cx="839179" cy="839179"/>
          </a:xfrm>
          <a:prstGeom prst="rect">
            <a:avLst/>
          </a:prstGeom>
        </p:spPr>
      </p:pic>
      <p:pic>
        <p:nvPicPr>
          <p:cNvPr id="119" name="Imagen 118" descr="Forma&#10;&#10;Descripción generada automáticamente con confianza media">
            <a:extLst>
              <a:ext uri="{FF2B5EF4-FFF2-40B4-BE49-F238E27FC236}">
                <a16:creationId xmlns:a16="http://schemas.microsoft.com/office/drawing/2014/main" id="{AA01997D-3175-BE42-A126-1D56B460E32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4830" y="3386457"/>
            <a:ext cx="1456909" cy="920766"/>
          </a:xfrm>
          <a:prstGeom prst="rect">
            <a:avLst/>
          </a:prstGeom>
        </p:spPr>
      </p:pic>
      <p:pic>
        <p:nvPicPr>
          <p:cNvPr id="120" name="Imagen 119" descr="Dibujo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D372408D-3AEF-B24F-B635-ED43CB73E3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962" y="1420935"/>
            <a:ext cx="396279" cy="396279"/>
          </a:xfrm>
          <a:prstGeom prst="rect">
            <a:avLst/>
          </a:prstGeom>
        </p:spPr>
      </p:pic>
      <p:pic>
        <p:nvPicPr>
          <p:cNvPr id="121" name="Imagen 120" descr="Icono&#10;&#10;Descripción generada automáticamente">
            <a:extLst>
              <a:ext uri="{FF2B5EF4-FFF2-40B4-BE49-F238E27FC236}">
                <a16:creationId xmlns:a16="http://schemas.microsoft.com/office/drawing/2014/main" id="{64693F10-2047-8E4B-ABAA-BB9525D3AC5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962" y="2294694"/>
            <a:ext cx="524487" cy="524487"/>
          </a:xfrm>
          <a:prstGeom prst="rect">
            <a:avLst/>
          </a:prstGeom>
        </p:spPr>
      </p:pic>
      <p:pic>
        <p:nvPicPr>
          <p:cNvPr id="122" name="Imagen 121" descr="Rectángulo&#10;&#10;Descripción generada automáticamente con confianza media">
            <a:extLst>
              <a:ext uri="{FF2B5EF4-FFF2-40B4-BE49-F238E27FC236}">
                <a16:creationId xmlns:a16="http://schemas.microsoft.com/office/drawing/2014/main" id="{CC564836-4281-FF4B-837E-B4E299ABC85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655" y="3516121"/>
            <a:ext cx="1060630" cy="594419"/>
          </a:xfrm>
          <a:prstGeom prst="rect">
            <a:avLst/>
          </a:prstGeom>
        </p:spPr>
      </p:pic>
      <p:pic>
        <p:nvPicPr>
          <p:cNvPr id="123" name="Imagen 122" descr="Diagrama&#10;&#10;Descripción generada automáticamente con confianza media">
            <a:extLst>
              <a:ext uri="{FF2B5EF4-FFF2-40B4-BE49-F238E27FC236}">
                <a16:creationId xmlns:a16="http://schemas.microsoft.com/office/drawing/2014/main" id="{517782CE-E28B-BF46-8ADF-BE740FB92CC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4788" y="3521273"/>
            <a:ext cx="1503530" cy="594419"/>
          </a:xfrm>
          <a:prstGeom prst="rect">
            <a:avLst/>
          </a:prstGeom>
        </p:spPr>
      </p:pic>
      <p:pic>
        <p:nvPicPr>
          <p:cNvPr id="124" name="Imagen 123">
            <a:extLst>
              <a:ext uri="{FF2B5EF4-FFF2-40B4-BE49-F238E27FC236}">
                <a16:creationId xmlns:a16="http://schemas.microsoft.com/office/drawing/2014/main" id="{63DEF1DC-E429-9F45-BEBD-DBDED3468EA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1985" y="2294694"/>
            <a:ext cx="262932" cy="317710"/>
          </a:xfrm>
          <a:prstGeom prst="rect">
            <a:avLst/>
          </a:prstGeom>
        </p:spPr>
      </p:pic>
      <p:sp>
        <p:nvSpPr>
          <p:cNvPr id="128" name="Título 127">
            <a:extLst>
              <a:ext uri="{FF2B5EF4-FFF2-40B4-BE49-F238E27FC236}">
                <a16:creationId xmlns:a16="http://schemas.microsoft.com/office/drawing/2014/main" id="{25252EC2-CA39-9645-A6CA-0994E2BEC2B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7969" y="278687"/>
            <a:ext cx="9728032" cy="282706"/>
          </a:xfrm>
          <a:prstGeom prst="rect">
            <a:avLst/>
          </a:prstGeom>
        </p:spPr>
        <p:txBody>
          <a:bodyPr/>
          <a:lstStyle/>
          <a:p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Mobiliari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125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ángulo 59">
            <a:extLst>
              <a:ext uri="{FF2B5EF4-FFF2-40B4-BE49-F238E27FC236}">
                <a16:creationId xmlns:a16="http://schemas.microsoft.com/office/drawing/2014/main" id="{AA09AAD9-F554-704E-A778-780FA8521D57}"/>
              </a:ext>
            </a:extLst>
          </p:cNvPr>
          <p:cNvSpPr/>
          <p:nvPr/>
        </p:nvSpPr>
        <p:spPr>
          <a:xfrm>
            <a:off x="675742" y="1028186"/>
            <a:ext cx="1978557" cy="863919"/>
          </a:xfrm>
          <a:prstGeom prst="rect">
            <a:avLst/>
          </a:prstGeom>
          <a:noFill/>
          <a:ln w="5715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7BBC91F-1C8C-F643-87C1-E6FF15BA8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743" y="369964"/>
            <a:ext cx="9356094" cy="2826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FAE76660-3D8B-D042-9E2E-640D78C5F0FB}"/>
              </a:ext>
            </a:extLst>
          </p:cNvPr>
          <p:cNvSpPr/>
          <p:nvPr/>
        </p:nvSpPr>
        <p:spPr>
          <a:xfrm>
            <a:off x="675744" y="3220972"/>
            <a:ext cx="5280556" cy="2368154"/>
          </a:xfrm>
          <a:prstGeom prst="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4145BE43-87E6-9947-91E3-95747A6E2DF3}"/>
              </a:ext>
            </a:extLst>
          </p:cNvPr>
          <p:cNvSpPr/>
          <p:nvPr/>
        </p:nvSpPr>
        <p:spPr>
          <a:xfrm>
            <a:off x="675743" y="1890876"/>
            <a:ext cx="1978557" cy="1330096"/>
          </a:xfrm>
          <a:prstGeom prst="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42" name="Imagen 41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48784D31-86E7-1B4A-AFE7-FEE318D41E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502" y="5040709"/>
            <a:ext cx="655519" cy="586517"/>
          </a:xfrm>
          <a:prstGeom prst="rect">
            <a:avLst/>
          </a:prstGeom>
        </p:spPr>
      </p:pic>
      <p:sp>
        <p:nvSpPr>
          <p:cNvPr id="43" name="Rectángulo 42">
            <a:extLst>
              <a:ext uri="{FF2B5EF4-FFF2-40B4-BE49-F238E27FC236}">
                <a16:creationId xmlns:a16="http://schemas.microsoft.com/office/drawing/2014/main" id="{175B3280-D42C-A547-BAF5-2A9D1F8E25F7}"/>
              </a:ext>
            </a:extLst>
          </p:cNvPr>
          <p:cNvSpPr/>
          <p:nvPr/>
        </p:nvSpPr>
        <p:spPr>
          <a:xfrm>
            <a:off x="2656942" y="1028187"/>
            <a:ext cx="3559109" cy="2192786"/>
          </a:xfrm>
          <a:prstGeom prst="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44" name="Imagen 43" descr="Forma&#10;&#10;Descripción generada automáticamente">
            <a:extLst>
              <a:ext uri="{FF2B5EF4-FFF2-40B4-BE49-F238E27FC236}">
                <a16:creationId xmlns:a16="http://schemas.microsoft.com/office/drawing/2014/main" id="{4971FD20-4ED7-1841-BF7D-E3FEFE8A49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818865" y="1458159"/>
            <a:ext cx="990698" cy="1258769"/>
          </a:xfrm>
          <a:prstGeom prst="rect">
            <a:avLst/>
          </a:prstGeom>
        </p:spPr>
      </p:pic>
      <p:pic>
        <p:nvPicPr>
          <p:cNvPr id="46" name="Imagen 45" descr="Imagen que contiene objeto, antena&#10;&#10;Descripción generada automáticamente">
            <a:extLst>
              <a:ext uri="{FF2B5EF4-FFF2-40B4-BE49-F238E27FC236}">
                <a16:creationId xmlns:a16="http://schemas.microsoft.com/office/drawing/2014/main" id="{67213034-1E50-FF43-B825-9D1A370E21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85131" y="2509195"/>
            <a:ext cx="990698" cy="396279"/>
          </a:xfrm>
          <a:prstGeom prst="rect">
            <a:avLst/>
          </a:prstGeom>
        </p:spPr>
      </p:pic>
      <p:pic>
        <p:nvPicPr>
          <p:cNvPr id="47" name="Imagen 46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676583F6-F718-5F45-BF34-1E1511AEDA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1402" y="2665809"/>
            <a:ext cx="655519" cy="586517"/>
          </a:xfrm>
          <a:prstGeom prst="rect">
            <a:avLst/>
          </a:prstGeom>
        </p:spPr>
      </p:pic>
      <p:pic>
        <p:nvPicPr>
          <p:cNvPr id="48" name="Imagen 47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DBC5A5A9-EAAB-4149-AFC4-8ED538CA9C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202" y="2665809"/>
            <a:ext cx="655519" cy="586517"/>
          </a:xfrm>
          <a:prstGeom prst="rect">
            <a:avLst/>
          </a:prstGeom>
        </p:spPr>
      </p:pic>
      <p:pic>
        <p:nvPicPr>
          <p:cNvPr id="51" name="Imagen 50">
            <a:extLst>
              <a:ext uri="{FF2B5EF4-FFF2-40B4-BE49-F238E27FC236}">
                <a16:creationId xmlns:a16="http://schemas.microsoft.com/office/drawing/2014/main" id="{63CF734C-D4B8-2040-9D54-2AB641A50B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434826" y="2887561"/>
            <a:ext cx="262932" cy="317710"/>
          </a:xfrm>
          <a:prstGeom prst="rect">
            <a:avLst/>
          </a:prstGeom>
        </p:spPr>
      </p:pic>
      <p:pic>
        <p:nvPicPr>
          <p:cNvPr id="52" name="Imagen 51" descr="Un dibujo de una cara feliz&#10;&#10;Descripción generada automáticamente con confianza baja">
            <a:extLst>
              <a:ext uri="{FF2B5EF4-FFF2-40B4-BE49-F238E27FC236}">
                <a16:creationId xmlns:a16="http://schemas.microsoft.com/office/drawing/2014/main" id="{09C848EE-FDB8-EC4C-990E-BC713D154F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3790" y="2163312"/>
            <a:ext cx="990698" cy="524487"/>
          </a:xfrm>
          <a:prstGeom prst="rect">
            <a:avLst/>
          </a:prstGeom>
        </p:spPr>
      </p:pic>
      <p:pic>
        <p:nvPicPr>
          <p:cNvPr id="53" name="Imagen 52" descr="Imagen que contiene Rectángulo&#10;&#10;Descripción generada automáticamente">
            <a:extLst>
              <a:ext uri="{FF2B5EF4-FFF2-40B4-BE49-F238E27FC236}">
                <a16:creationId xmlns:a16="http://schemas.microsoft.com/office/drawing/2014/main" id="{FF565DFE-2372-D548-8FDF-6072DE075F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948629" y="1916634"/>
            <a:ext cx="652695" cy="326348"/>
          </a:xfrm>
          <a:prstGeom prst="rect">
            <a:avLst/>
          </a:prstGeom>
        </p:spPr>
      </p:pic>
      <p:pic>
        <p:nvPicPr>
          <p:cNvPr id="55" name="Imagen 54">
            <a:extLst>
              <a:ext uri="{FF2B5EF4-FFF2-40B4-BE49-F238E27FC236}">
                <a16:creationId xmlns:a16="http://schemas.microsoft.com/office/drawing/2014/main" id="{44D381B1-917B-9F41-9940-BE4332C55E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495" y="1851713"/>
            <a:ext cx="667020" cy="69002"/>
          </a:xfrm>
          <a:prstGeom prst="rect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30D8C50F-C318-DC4B-80B0-C230E8D7D8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033" y="999697"/>
            <a:ext cx="667020" cy="69002"/>
          </a:xfrm>
          <a:prstGeom prst="rect">
            <a:avLst/>
          </a:prstGeom>
        </p:spPr>
      </p:pic>
      <p:pic>
        <p:nvPicPr>
          <p:cNvPr id="57" name="Imagen 56">
            <a:extLst>
              <a:ext uri="{FF2B5EF4-FFF2-40B4-BE49-F238E27FC236}">
                <a16:creationId xmlns:a16="http://schemas.microsoft.com/office/drawing/2014/main" id="{59EFE349-9C5F-7A4F-8732-4BFA0DE6EC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5315" y="999697"/>
            <a:ext cx="667020" cy="69002"/>
          </a:xfrm>
          <a:prstGeom prst="rect">
            <a:avLst/>
          </a:prstGeom>
        </p:spPr>
      </p:pic>
      <p:pic>
        <p:nvPicPr>
          <p:cNvPr id="58" name="Imagen 57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201C72E8-830C-5741-BDF7-182DF022EF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075211" y="1159208"/>
            <a:ext cx="655519" cy="586517"/>
          </a:xfrm>
          <a:prstGeom prst="rect">
            <a:avLst/>
          </a:prstGeom>
        </p:spPr>
      </p:pic>
      <p:pic>
        <p:nvPicPr>
          <p:cNvPr id="61" name="Imagen 60" descr="Icono&#10;&#10;Descripción generada automáticamente con confianza media">
            <a:extLst>
              <a:ext uri="{FF2B5EF4-FFF2-40B4-BE49-F238E27FC236}">
                <a16:creationId xmlns:a16="http://schemas.microsoft.com/office/drawing/2014/main" id="{EDB96414-CF4B-2549-ABE3-602F18B0E2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230018" y="5123299"/>
            <a:ext cx="466211" cy="349658"/>
          </a:xfrm>
          <a:prstGeom prst="rect">
            <a:avLst/>
          </a:prstGeom>
        </p:spPr>
      </p:pic>
      <p:pic>
        <p:nvPicPr>
          <p:cNvPr id="62" name="Imagen 61" descr="Dibujo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20484D8A-5045-6740-A7B0-D001D7399CA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0180" y="5148335"/>
            <a:ext cx="396279" cy="396279"/>
          </a:xfrm>
          <a:prstGeom prst="rect">
            <a:avLst/>
          </a:prstGeom>
        </p:spPr>
      </p:pic>
      <p:pic>
        <p:nvPicPr>
          <p:cNvPr id="64" name="Imagen 63" descr="Forma&#10;&#10;Descripción generada automáticamente con confianza baja">
            <a:extLst>
              <a:ext uri="{FF2B5EF4-FFF2-40B4-BE49-F238E27FC236}">
                <a16:creationId xmlns:a16="http://schemas.microsoft.com/office/drawing/2014/main" id="{4A17F36F-D6B0-8B44-8EBA-8AE54560B6C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6183" y="3737956"/>
            <a:ext cx="909111" cy="909111"/>
          </a:xfrm>
          <a:prstGeom prst="rect">
            <a:avLst/>
          </a:prstGeom>
        </p:spPr>
      </p:pic>
      <p:sp>
        <p:nvSpPr>
          <p:cNvPr id="65" name="Rectángulo 64">
            <a:extLst>
              <a:ext uri="{FF2B5EF4-FFF2-40B4-BE49-F238E27FC236}">
                <a16:creationId xmlns:a16="http://schemas.microsoft.com/office/drawing/2014/main" id="{C80CE3D6-1D50-A44F-ABE8-4A48E64AC969}"/>
              </a:ext>
            </a:extLst>
          </p:cNvPr>
          <p:cNvSpPr/>
          <p:nvPr/>
        </p:nvSpPr>
        <p:spPr>
          <a:xfrm>
            <a:off x="2021068" y="5091946"/>
            <a:ext cx="1559342" cy="504363"/>
          </a:xfrm>
          <a:prstGeom prst="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sp>
        <p:nvSpPr>
          <p:cNvPr id="67" name="Rectángulo 66">
            <a:extLst>
              <a:ext uri="{FF2B5EF4-FFF2-40B4-BE49-F238E27FC236}">
                <a16:creationId xmlns:a16="http://schemas.microsoft.com/office/drawing/2014/main" id="{A30A1098-F4ED-234D-817E-A960C8DFB704}"/>
              </a:ext>
            </a:extLst>
          </p:cNvPr>
          <p:cNvSpPr/>
          <p:nvPr/>
        </p:nvSpPr>
        <p:spPr>
          <a:xfrm>
            <a:off x="655155" y="2920905"/>
            <a:ext cx="566227" cy="331421"/>
          </a:xfrm>
          <a:prstGeom prst="rect">
            <a:avLst/>
          </a:prstGeom>
          <a:solidFill>
            <a:schemeClr val="bg1">
              <a:lumMod val="65000"/>
            </a:schemeClr>
          </a:solidFill>
          <a:ln w="571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8" name="Imagen 67" descr="Imagen que contiene objeto, antena&#10;&#10;Descripción generada automáticamente">
            <a:extLst>
              <a:ext uri="{FF2B5EF4-FFF2-40B4-BE49-F238E27FC236}">
                <a16:creationId xmlns:a16="http://schemas.microsoft.com/office/drawing/2014/main" id="{2F8BF502-3226-9B40-9EB9-6CB5181CB2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9171" y="3560756"/>
            <a:ext cx="990698" cy="396279"/>
          </a:xfrm>
          <a:prstGeom prst="rect">
            <a:avLst/>
          </a:prstGeom>
        </p:spPr>
      </p:pic>
      <p:pic>
        <p:nvPicPr>
          <p:cNvPr id="69" name="Imagen 68" descr="Rectángulo&#10;&#10;Descripción generada automáticamente con confianza media">
            <a:extLst>
              <a:ext uri="{FF2B5EF4-FFF2-40B4-BE49-F238E27FC236}">
                <a16:creationId xmlns:a16="http://schemas.microsoft.com/office/drawing/2014/main" id="{0DE3F480-EF56-C349-B3F8-B18BD81A566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304" y="3263672"/>
            <a:ext cx="1060630" cy="594419"/>
          </a:xfrm>
          <a:prstGeom prst="rect">
            <a:avLst/>
          </a:prstGeom>
        </p:spPr>
      </p:pic>
      <p:sp>
        <p:nvSpPr>
          <p:cNvPr id="71" name="Triángulo isósceles 76">
            <a:extLst>
              <a:ext uri="{FF2B5EF4-FFF2-40B4-BE49-F238E27FC236}">
                <a16:creationId xmlns:a16="http://schemas.microsoft.com/office/drawing/2014/main" id="{2EABE6FE-185C-EF4C-BFA8-9394E73FBE92}"/>
              </a:ext>
            </a:extLst>
          </p:cNvPr>
          <p:cNvSpPr/>
          <p:nvPr/>
        </p:nvSpPr>
        <p:spPr>
          <a:xfrm>
            <a:off x="1230247" y="5732677"/>
            <a:ext cx="244323" cy="203200"/>
          </a:xfrm>
          <a:prstGeom prst="triangle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 dirty="0" err="1">
              <a:solidFill>
                <a:srgbClr val="484848"/>
              </a:solidFill>
              <a:latin typeface="Arial"/>
            </a:endParaRP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2D62564D-275B-FC49-AFCA-26A4F5838EF7}"/>
              </a:ext>
            </a:extLst>
          </p:cNvPr>
          <p:cNvSpPr txBox="1"/>
          <p:nvPr/>
        </p:nvSpPr>
        <p:spPr>
          <a:xfrm>
            <a:off x="1059409" y="598134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" sz="1000" dirty="0">
                <a:solidFill>
                  <a:srgbClr val="484848"/>
                </a:solidFill>
                <a:latin typeface="Arial"/>
              </a:rPr>
              <a:t>Entrada</a:t>
            </a:r>
          </a:p>
        </p:txBody>
      </p:sp>
      <p:grpSp>
        <p:nvGrpSpPr>
          <p:cNvPr id="73" name="Grupo 72">
            <a:extLst>
              <a:ext uri="{FF2B5EF4-FFF2-40B4-BE49-F238E27FC236}">
                <a16:creationId xmlns:a16="http://schemas.microsoft.com/office/drawing/2014/main" id="{71DC1812-9278-E444-9A49-1E7CE9E046B6}"/>
              </a:ext>
            </a:extLst>
          </p:cNvPr>
          <p:cNvGrpSpPr/>
          <p:nvPr/>
        </p:nvGrpSpPr>
        <p:grpSpPr>
          <a:xfrm>
            <a:off x="696895" y="2224115"/>
            <a:ext cx="1904429" cy="298378"/>
            <a:chOff x="358815" y="6195019"/>
            <a:chExt cx="2847372" cy="298378"/>
          </a:xfrm>
        </p:grpSpPr>
        <p:cxnSp>
          <p:nvCxnSpPr>
            <p:cNvPr id="74" name="Conector recto de flecha 73">
              <a:extLst>
                <a:ext uri="{FF2B5EF4-FFF2-40B4-BE49-F238E27FC236}">
                  <a16:creationId xmlns:a16="http://schemas.microsoft.com/office/drawing/2014/main" id="{4F610D1A-5EDF-514D-B6D1-D3582D080332}"/>
                </a:ext>
              </a:extLst>
            </p:cNvPr>
            <p:cNvCxnSpPr/>
            <p:nvPr/>
          </p:nvCxnSpPr>
          <p:spPr>
            <a:xfrm>
              <a:off x="358815" y="6493397"/>
              <a:ext cx="2847372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CuadroTexto 74">
              <a:extLst>
                <a:ext uri="{FF2B5EF4-FFF2-40B4-BE49-F238E27FC236}">
                  <a16:creationId xmlns:a16="http://schemas.microsoft.com/office/drawing/2014/main" id="{569285B5-6462-9B42-9E97-AA28AE96A985}"/>
                </a:ext>
              </a:extLst>
            </p:cNvPr>
            <p:cNvSpPr txBox="1"/>
            <p:nvPr/>
          </p:nvSpPr>
          <p:spPr>
            <a:xfrm>
              <a:off x="1475221" y="6195019"/>
              <a:ext cx="64519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s-ES" sz="1000" dirty="0">
                  <a:solidFill>
                    <a:srgbClr val="484848"/>
                  </a:solidFill>
                  <a:latin typeface="Arial"/>
                </a:rPr>
                <a:t>3.00</a:t>
              </a:r>
            </a:p>
          </p:txBody>
        </p:sp>
      </p:grpSp>
      <p:sp>
        <p:nvSpPr>
          <p:cNvPr id="35" name="Rectángulo 34">
            <a:extLst>
              <a:ext uri="{FF2B5EF4-FFF2-40B4-BE49-F238E27FC236}">
                <a16:creationId xmlns:a16="http://schemas.microsoft.com/office/drawing/2014/main" id="{3B970B9A-368E-360B-76BC-6AE25AED2C54}"/>
              </a:ext>
            </a:extLst>
          </p:cNvPr>
          <p:cNvSpPr/>
          <p:nvPr/>
        </p:nvSpPr>
        <p:spPr>
          <a:xfrm>
            <a:off x="5943599" y="3220971"/>
            <a:ext cx="3559105" cy="2368153"/>
          </a:xfrm>
          <a:prstGeom prst="rect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76" name="Grupo 75">
            <a:extLst>
              <a:ext uri="{FF2B5EF4-FFF2-40B4-BE49-F238E27FC236}">
                <a16:creationId xmlns:a16="http://schemas.microsoft.com/office/drawing/2014/main" id="{ED7FB19A-E944-9E44-A344-1C60EA93D231}"/>
              </a:ext>
            </a:extLst>
          </p:cNvPr>
          <p:cNvGrpSpPr/>
          <p:nvPr/>
        </p:nvGrpSpPr>
        <p:grpSpPr>
          <a:xfrm>
            <a:off x="6266458" y="999697"/>
            <a:ext cx="293000" cy="2252629"/>
            <a:chOff x="3886330" y="5642678"/>
            <a:chExt cx="293000" cy="927565"/>
          </a:xfrm>
        </p:grpSpPr>
        <p:cxnSp>
          <p:nvCxnSpPr>
            <p:cNvPr id="77" name="Conector recto de flecha 76">
              <a:extLst>
                <a:ext uri="{FF2B5EF4-FFF2-40B4-BE49-F238E27FC236}">
                  <a16:creationId xmlns:a16="http://schemas.microsoft.com/office/drawing/2014/main" id="{294C9041-702C-3343-AFA2-C473CE50E25D}"/>
                </a:ext>
              </a:extLst>
            </p:cNvPr>
            <p:cNvCxnSpPr>
              <a:cxnSpLocks/>
            </p:cNvCxnSpPr>
            <p:nvPr/>
          </p:nvCxnSpPr>
          <p:spPr>
            <a:xfrm>
              <a:off x="4179330" y="5642678"/>
              <a:ext cx="0" cy="927565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CuadroTexto 77">
              <a:extLst>
                <a:ext uri="{FF2B5EF4-FFF2-40B4-BE49-F238E27FC236}">
                  <a16:creationId xmlns:a16="http://schemas.microsoft.com/office/drawing/2014/main" id="{7FF77B64-1C04-244E-BBCA-8864A96B5299}"/>
                </a:ext>
              </a:extLst>
            </p:cNvPr>
            <p:cNvSpPr txBox="1"/>
            <p:nvPr/>
          </p:nvSpPr>
          <p:spPr>
            <a:xfrm rot="16200000">
              <a:off x="3920595" y="5961822"/>
              <a:ext cx="17769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s-ES" sz="1000" dirty="0">
                  <a:solidFill>
                    <a:srgbClr val="484848"/>
                  </a:solidFill>
                  <a:latin typeface="Arial"/>
                </a:rPr>
                <a:t>3.00</a:t>
              </a:r>
            </a:p>
          </p:txBody>
        </p:sp>
      </p:grpSp>
      <p:pic>
        <p:nvPicPr>
          <p:cNvPr id="70" name="Imagen 69">
            <a:extLst>
              <a:ext uri="{FF2B5EF4-FFF2-40B4-BE49-F238E27FC236}">
                <a16:creationId xmlns:a16="http://schemas.microsoft.com/office/drawing/2014/main" id="{5C5F62B4-1E4D-5741-AD41-CE7096BE85F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723151" y="3194544"/>
            <a:ext cx="897026" cy="69002"/>
          </a:xfrm>
          <a:prstGeom prst="rect">
            <a:avLst/>
          </a:prstGeom>
        </p:spPr>
      </p:pic>
      <p:pic>
        <p:nvPicPr>
          <p:cNvPr id="36" name="Imagen 35" descr="Forma&#10;&#10;Descripción generada automáticamente">
            <a:extLst>
              <a:ext uri="{FF2B5EF4-FFF2-40B4-BE49-F238E27FC236}">
                <a16:creationId xmlns:a16="http://schemas.microsoft.com/office/drawing/2014/main" id="{8DE31F1C-4E18-11A1-B172-FD106F1272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361748" y="3796951"/>
            <a:ext cx="990698" cy="1258769"/>
          </a:xfrm>
          <a:prstGeom prst="rect">
            <a:avLst/>
          </a:prstGeom>
        </p:spPr>
      </p:pic>
      <p:pic>
        <p:nvPicPr>
          <p:cNvPr id="37" name="Imagen 36" descr="Dibujo de una persona&#10;&#10;Descripción generada automáticamente con confianza baja">
            <a:extLst>
              <a:ext uri="{FF2B5EF4-FFF2-40B4-BE49-F238E27FC236}">
                <a16:creationId xmlns:a16="http://schemas.microsoft.com/office/drawing/2014/main" id="{46FC0BCA-BF93-0F8C-9AE8-F0942139E42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036778" y="4309058"/>
            <a:ext cx="1299538" cy="58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179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d2017ws">
  <a:themeElements>
    <a:clrScheme name="Personalizar 1">
      <a:dk1>
        <a:srgbClr val="484848"/>
      </a:dk1>
      <a:lt1>
        <a:srgbClr val="FFFFFF"/>
      </a:lt1>
      <a:dk2>
        <a:srgbClr val="7C7C7C"/>
      </a:dk2>
      <a:lt2>
        <a:srgbClr val="FFFFFF"/>
      </a:lt2>
      <a:accent1>
        <a:srgbClr val="9C9C9C"/>
      </a:accent1>
      <a:accent2>
        <a:srgbClr val="787878"/>
      </a:accent2>
      <a:accent3>
        <a:srgbClr val="DFFA45"/>
      </a:accent3>
      <a:accent4>
        <a:srgbClr val="B1D004"/>
      </a:accent4>
      <a:accent5>
        <a:srgbClr val="B62682"/>
      </a:accent5>
      <a:accent6>
        <a:srgbClr val="346767"/>
      </a:accent6>
      <a:hlink>
        <a:srgbClr val="0066FF"/>
      </a:hlink>
      <a:folHlink>
        <a:srgbClr val="7030A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Ivy">
        <a:dk1>
          <a:srgbClr val="D9D9D9"/>
        </a:dk1>
        <a:lt1>
          <a:srgbClr val="FFFFFF"/>
        </a:lt1>
        <a:dk2>
          <a:srgbClr val="7C7C7C"/>
        </a:dk2>
        <a:lt2>
          <a:srgbClr val="FFFFFF"/>
        </a:lt2>
        <a:accent1>
          <a:srgbClr val="D9D9D9"/>
        </a:accent1>
        <a:accent2>
          <a:srgbClr val="B9B9B9"/>
        </a:accent2>
        <a:accent3>
          <a:srgbClr val="DFFA45"/>
        </a:accent3>
        <a:accent4>
          <a:srgbClr val="B1D004"/>
        </a:accent4>
        <a:accent5>
          <a:srgbClr val="B62682"/>
        </a:accent5>
        <a:accent6>
          <a:srgbClr val="346767"/>
        </a:accent6>
        <a:hlink>
          <a:srgbClr val="DFFA45"/>
        </a:hlink>
        <a:folHlink>
          <a:srgbClr val="B1D0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d2017ws" id="{4AAF72AD-4D12-2749-AFFD-2293E8CBA659}" vid="{D1AC1637-22AD-D141-854C-87ABF9155C4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72</TotalTime>
  <Words>184</Words>
  <Application>Microsoft Office PowerPoint</Application>
  <PresentationFormat>A4 (210 x 297 mm)</PresentationFormat>
  <Paragraphs>51</Paragraphs>
  <Slides>1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4" baseType="lpstr">
      <vt:lpstr>Arial</vt:lpstr>
      <vt:lpstr>id2017ws</vt:lpstr>
      <vt:lpstr>Diapositiva de think-cell</vt:lpstr>
      <vt:lpstr>Presentación de PowerPoint</vt:lpstr>
      <vt:lpstr>Uso de la plantilla</vt:lpstr>
      <vt:lpstr>Crear formas complejas por unión</vt:lpstr>
      <vt:lpstr>Modificar la forma</vt:lpstr>
      <vt:lpstr>Exportar plano</vt:lpstr>
      <vt:lpstr>Elementos del plano</vt:lpstr>
      <vt:lpstr>Elementos del plano</vt:lpstr>
      <vt:lpstr>Mobiliario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itor de planos</dc:title>
  <dc:creator>Fernando Picado</dc:creator>
  <cp:lastModifiedBy>Luis Sanz Bernardo</cp:lastModifiedBy>
  <cp:revision>10</cp:revision>
  <dcterms:created xsi:type="dcterms:W3CDTF">2022-01-14T12:37:10Z</dcterms:created>
  <dcterms:modified xsi:type="dcterms:W3CDTF">2022-08-08T15:10:42Z</dcterms:modified>
</cp:coreProperties>
</file>